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62" r:id="rId5"/>
    <p:sldId id="265" r:id="rId6"/>
    <p:sldId id="268" r:id="rId7"/>
    <p:sldId id="283" r:id="rId8"/>
    <p:sldId id="263" r:id="rId9"/>
    <p:sldId id="270" r:id="rId10"/>
    <p:sldId id="276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CDDB9CE-55F7-4461-96C8-47A1E4B7F535}">
          <p14:sldIdLst/>
        </p14:section>
        <p14:section name="Quick Guide" id="{05B0A9C0-2DE6-4E14-AAF5-FB25426E813B}">
          <p14:sldIdLst/>
        </p14:section>
        <p14:section name="Verfügbare Layouts" id="{E36ACE28-79DA-4A30-A57F-3CA7B6F7266A}">
          <p14:sldIdLst>
            <p14:sldId id="262"/>
            <p14:sldId id="265"/>
            <p14:sldId id="268"/>
            <p14:sldId id="283"/>
            <p14:sldId id="263"/>
            <p14:sldId id="270"/>
            <p14:sldId id="27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89B4DC-810D-4004-9553-793E431DBA88}" v="19" dt="2025-04-12T20:23:40.351"/>
  </p1510:revLst>
</p1510:revInfo>
</file>

<file path=ppt/tableStyles.xml><?xml version="1.0" encoding="utf-8"?>
<a:tblStyleLst xmlns:a="http://schemas.openxmlformats.org/drawingml/2006/main" def="{EB9631B5-78F2-41C9-869B-9F39066F8104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 varScale="1">
        <p:scale>
          <a:sx n="57" d="100"/>
          <a:sy n="57" d="100"/>
        </p:scale>
        <p:origin x="34" y="25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>
        <p:scale>
          <a:sx n="66" d="100"/>
          <a:sy n="66" d="100"/>
        </p:scale>
        <p:origin x="2790" y="4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nja Jenike" userId="264b806b-832f-4db5-b1cf-7edb9e584be7" providerId="ADAL" clId="{8189B4DC-810D-4004-9553-793E431DBA88}"/>
    <pc:docChg chg="undo custSel addSld delSld modSld sldOrd modSection">
      <pc:chgData name="Ronja Jenike" userId="264b806b-832f-4db5-b1cf-7edb9e584be7" providerId="ADAL" clId="{8189B4DC-810D-4004-9553-793E431DBA88}" dt="2025-04-12T20:30:30.319" v="1687" actId="47"/>
      <pc:docMkLst>
        <pc:docMk/>
      </pc:docMkLst>
      <pc:sldChg chg="del">
        <pc:chgData name="Ronja Jenike" userId="264b806b-832f-4db5-b1cf-7edb9e584be7" providerId="ADAL" clId="{8189B4DC-810D-4004-9553-793E431DBA88}" dt="2025-04-12T20:21:32.645" v="1419" actId="47"/>
        <pc:sldMkLst>
          <pc:docMk/>
          <pc:sldMk cId="2082553987" sldId="256"/>
        </pc:sldMkLst>
      </pc:sldChg>
      <pc:sldChg chg="del">
        <pc:chgData name="Ronja Jenike" userId="264b806b-832f-4db5-b1cf-7edb9e584be7" providerId="ADAL" clId="{8189B4DC-810D-4004-9553-793E431DBA88}" dt="2025-04-12T20:21:34.042" v="1420" actId="47"/>
        <pc:sldMkLst>
          <pc:docMk/>
          <pc:sldMk cId="952542864" sldId="257"/>
        </pc:sldMkLst>
      </pc:sldChg>
      <pc:sldChg chg="del">
        <pc:chgData name="Ronja Jenike" userId="264b806b-832f-4db5-b1cf-7edb9e584be7" providerId="ADAL" clId="{8189B4DC-810D-4004-9553-793E431DBA88}" dt="2025-04-12T20:21:34.572" v="1421" actId="47"/>
        <pc:sldMkLst>
          <pc:docMk/>
          <pc:sldMk cId="363549908" sldId="258"/>
        </pc:sldMkLst>
      </pc:sldChg>
      <pc:sldChg chg="del">
        <pc:chgData name="Ronja Jenike" userId="264b806b-832f-4db5-b1cf-7edb9e584be7" providerId="ADAL" clId="{8189B4DC-810D-4004-9553-793E431DBA88}" dt="2025-04-12T20:21:35.511" v="1423" actId="47"/>
        <pc:sldMkLst>
          <pc:docMk/>
          <pc:sldMk cId="1738869023" sldId="259"/>
        </pc:sldMkLst>
      </pc:sldChg>
      <pc:sldChg chg="del">
        <pc:chgData name="Ronja Jenike" userId="264b806b-832f-4db5-b1cf-7edb9e584be7" providerId="ADAL" clId="{8189B4DC-810D-4004-9553-793E431DBA88}" dt="2025-04-12T20:21:36.152" v="1424" actId="47"/>
        <pc:sldMkLst>
          <pc:docMk/>
          <pc:sldMk cId="2125322194" sldId="260"/>
        </pc:sldMkLst>
      </pc:sldChg>
      <pc:sldChg chg="del">
        <pc:chgData name="Ronja Jenike" userId="264b806b-832f-4db5-b1cf-7edb9e584be7" providerId="ADAL" clId="{8189B4DC-810D-4004-9553-793E431DBA88}" dt="2025-04-12T20:21:37.183" v="1425" actId="47"/>
        <pc:sldMkLst>
          <pc:docMk/>
          <pc:sldMk cId="470416527" sldId="261"/>
        </pc:sldMkLst>
      </pc:sldChg>
      <pc:sldChg chg="modSp mod">
        <pc:chgData name="Ronja Jenike" userId="264b806b-832f-4db5-b1cf-7edb9e584be7" providerId="ADAL" clId="{8189B4DC-810D-4004-9553-793E431DBA88}" dt="2025-04-12T20:28:49.706" v="1616" actId="20577"/>
        <pc:sldMkLst>
          <pc:docMk/>
          <pc:sldMk cId="3171894137" sldId="263"/>
        </pc:sldMkLst>
        <pc:spChg chg="mod">
          <ac:chgData name="Ronja Jenike" userId="264b806b-832f-4db5-b1cf-7edb9e584be7" providerId="ADAL" clId="{8189B4DC-810D-4004-9553-793E431DBA88}" dt="2025-04-12T20:11:58.670" v="881" actId="20577"/>
          <ac:spMkLst>
            <pc:docMk/>
            <pc:sldMk cId="3171894137" sldId="263"/>
            <ac:spMk id="2" creationId="{B8F666E6-8D89-9F75-5454-A8385ECFE9D4}"/>
          </ac:spMkLst>
        </pc:spChg>
        <pc:spChg chg="mod">
          <ac:chgData name="Ronja Jenike" userId="264b806b-832f-4db5-b1cf-7edb9e584be7" providerId="ADAL" clId="{8189B4DC-810D-4004-9553-793E431DBA88}" dt="2025-04-12T20:21:14.210" v="1395" actId="20577"/>
          <ac:spMkLst>
            <pc:docMk/>
            <pc:sldMk cId="3171894137" sldId="263"/>
            <ac:spMk id="10" creationId="{0BA02305-7C7E-D52F-5516-A7A6E2995CEB}"/>
          </ac:spMkLst>
        </pc:spChg>
        <pc:spChg chg="mod">
          <ac:chgData name="Ronja Jenike" userId="264b806b-832f-4db5-b1cf-7edb9e584be7" providerId="ADAL" clId="{8189B4DC-810D-4004-9553-793E431DBA88}" dt="2025-04-12T20:28:49.706" v="1616" actId="20577"/>
          <ac:spMkLst>
            <pc:docMk/>
            <pc:sldMk cId="3171894137" sldId="263"/>
            <ac:spMk id="21" creationId="{915EA621-D2BC-D3E9-632D-8A3E60F815C6}"/>
          </ac:spMkLst>
        </pc:spChg>
      </pc:sldChg>
      <pc:sldChg chg="del">
        <pc:chgData name="Ronja Jenike" userId="264b806b-832f-4db5-b1cf-7edb9e584be7" providerId="ADAL" clId="{8189B4DC-810D-4004-9553-793E431DBA88}" dt="2025-04-12T20:21:42.604" v="1426" actId="47"/>
        <pc:sldMkLst>
          <pc:docMk/>
          <pc:sldMk cId="694099860" sldId="264"/>
        </pc:sldMkLst>
      </pc:sldChg>
      <pc:sldChg chg="addSp delSp modSp mod ord modClrScheme chgLayout">
        <pc:chgData name="Ronja Jenike" userId="264b806b-832f-4db5-b1cf-7edb9e584be7" providerId="ADAL" clId="{8189B4DC-810D-4004-9553-793E431DBA88}" dt="2025-04-12T20:29:32.422" v="1629" actId="20577"/>
        <pc:sldMkLst>
          <pc:docMk/>
          <pc:sldMk cId="174009990" sldId="265"/>
        </pc:sldMkLst>
        <pc:spChg chg="mod">
          <ac:chgData name="Ronja Jenike" userId="264b806b-832f-4db5-b1cf-7edb9e584be7" providerId="ADAL" clId="{8189B4DC-810D-4004-9553-793E431DBA88}" dt="2025-04-12T20:20:23.796" v="1320" actId="20577"/>
          <ac:spMkLst>
            <pc:docMk/>
            <pc:sldMk cId="174009990" sldId="265"/>
            <ac:spMk id="5" creationId="{836B30B8-2308-0E96-2252-4F26F968AFD1}"/>
          </ac:spMkLst>
        </pc:spChg>
        <pc:spChg chg="mod">
          <ac:chgData name="Ronja Jenike" userId="264b806b-832f-4db5-b1cf-7edb9e584be7" providerId="ADAL" clId="{8189B4DC-810D-4004-9553-793E431DBA88}" dt="2025-04-10T20:47:00.461" v="7" actId="26606"/>
          <ac:spMkLst>
            <pc:docMk/>
            <pc:sldMk cId="174009990" sldId="265"/>
            <ac:spMk id="6" creationId="{D7F3AF95-90FC-D5B4-13E7-05756BD238B5}"/>
          </ac:spMkLst>
        </pc:spChg>
        <pc:spChg chg="mod">
          <ac:chgData name="Ronja Jenike" userId="264b806b-832f-4db5-b1cf-7edb9e584be7" providerId="ADAL" clId="{8189B4DC-810D-4004-9553-793E431DBA88}" dt="2025-04-12T20:29:32.422" v="1629" actId="20577"/>
          <ac:spMkLst>
            <pc:docMk/>
            <pc:sldMk cId="174009990" sldId="265"/>
            <ac:spMk id="36" creationId="{3DD0E937-BDB5-1C85-82AD-C853B6A74C47}"/>
          </ac:spMkLst>
        </pc:spChg>
        <pc:spChg chg="add mod">
          <ac:chgData name="Ronja Jenike" userId="264b806b-832f-4db5-b1cf-7edb9e584be7" providerId="ADAL" clId="{8189B4DC-810D-4004-9553-793E431DBA88}" dt="2025-04-12T20:06:07.131" v="645" actId="20577"/>
          <ac:spMkLst>
            <pc:docMk/>
            <pc:sldMk cId="174009990" sldId="265"/>
            <ac:spMk id="56" creationId="{3F84CE23-0CF2-6B4C-8133-49BCDFAC5222}"/>
          </ac:spMkLst>
        </pc:spChg>
        <pc:spChg chg="add mod">
          <ac:chgData name="Ronja Jenike" userId="264b806b-832f-4db5-b1cf-7edb9e584be7" providerId="ADAL" clId="{8189B4DC-810D-4004-9553-793E431DBA88}" dt="2025-04-12T20:24:46.551" v="1562" actId="20577"/>
          <ac:spMkLst>
            <pc:docMk/>
            <pc:sldMk cId="174009990" sldId="265"/>
            <ac:spMk id="58" creationId="{D759C8EA-567C-25E0-A470-2671E654473A}"/>
          </ac:spMkLst>
        </pc:spChg>
        <pc:picChg chg="mod">
          <ac:chgData name="Ronja Jenike" userId="264b806b-832f-4db5-b1cf-7edb9e584be7" providerId="ADAL" clId="{8189B4DC-810D-4004-9553-793E431DBA88}" dt="2025-04-10T20:47:11.930" v="9" actId="1076"/>
          <ac:picMkLst>
            <pc:docMk/>
            <pc:sldMk cId="174009990" sldId="265"/>
            <ac:picMk id="9" creationId="{9EE3BD9E-EAEE-76D1-A0A7-93693ED41BB1}"/>
          </ac:picMkLst>
        </pc:picChg>
      </pc:sldChg>
      <pc:sldChg chg="del">
        <pc:chgData name="Ronja Jenike" userId="264b806b-832f-4db5-b1cf-7edb9e584be7" providerId="ADAL" clId="{8189B4DC-810D-4004-9553-793E431DBA88}" dt="2025-04-12T20:21:44.745" v="1427" actId="47"/>
        <pc:sldMkLst>
          <pc:docMk/>
          <pc:sldMk cId="3174085848" sldId="266"/>
        </pc:sldMkLst>
      </pc:sldChg>
      <pc:sldChg chg="del">
        <pc:chgData name="Ronja Jenike" userId="264b806b-832f-4db5-b1cf-7edb9e584be7" providerId="ADAL" clId="{8189B4DC-810D-4004-9553-793E431DBA88}" dt="2025-04-12T20:21:45.664" v="1428" actId="47"/>
        <pc:sldMkLst>
          <pc:docMk/>
          <pc:sldMk cId="992624465" sldId="267"/>
        </pc:sldMkLst>
      </pc:sldChg>
      <pc:sldChg chg="addSp delSp modSp mod ord">
        <pc:chgData name="Ronja Jenike" userId="264b806b-832f-4db5-b1cf-7edb9e584be7" providerId="ADAL" clId="{8189B4DC-810D-4004-9553-793E431DBA88}" dt="2025-04-12T20:20:34.909" v="1343" actId="20577"/>
        <pc:sldMkLst>
          <pc:docMk/>
          <pc:sldMk cId="1166782262" sldId="268"/>
        </pc:sldMkLst>
        <pc:spChg chg="mod">
          <ac:chgData name="Ronja Jenike" userId="264b806b-832f-4db5-b1cf-7edb9e584be7" providerId="ADAL" clId="{8189B4DC-810D-4004-9553-793E431DBA88}" dt="2025-04-12T20:20:34.909" v="1343" actId="20577"/>
          <ac:spMkLst>
            <pc:docMk/>
            <pc:sldMk cId="1166782262" sldId="268"/>
            <ac:spMk id="6" creationId="{325684B9-5CD3-C378-DCD7-3CCE10EA956F}"/>
          </ac:spMkLst>
        </pc:spChg>
        <pc:spChg chg="add del mod">
          <ac:chgData name="Ronja Jenike" userId="264b806b-832f-4db5-b1cf-7edb9e584be7" providerId="ADAL" clId="{8189B4DC-810D-4004-9553-793E431DBA88}" dt="2025-04-12T16:06:30.522" v="499" actId="931"/>
          <ac:spMkLst>
            <pc:docMk/>
            <pc:sldMk cId="1166782262" sldId="268"/>
            <ac:spMk id="21" creationId="{A9454E03-5CAA-5285-6FF2-BC0B7E90C274}"/>
          </ac:spMkLst>
        </pc:spChg>
        <pc:picChg chg="del mod">
          <ac:chgData name="Ronja Jenike" userId="264b806b-832f-4db5-b1cf-7edb9e584be7" providerId="ADAL" clId="{8189B4DC-810D-4004-9553-793E431DBA88}" dt="2025-04-12T16:04:49.216" v="491" actId="478"/>
          <ac:picMkLst>
            <pc:docMk/>
            <pc:sldMk cId="1166782262" sldId="268"/>
            <ac:picMk id="9" creationId="{88957F20-84B8-5523-D4D0-3653FD7D2257}"/>
          </ac:picMkLst>
        </pc:picChg>
        <pc:picChg chg="del mod">
          <ac:chgData name="Ronja Jenike" userId="264b806b-832f-4db5-b1cf-7edb9e584be7" providerId="ADAL" clId="{8189B4DC-810D-4004-9553-793E431DBA88}" dt="2025-04-12T16:05:04.342" v="497" actId="478"/>
          <ac:picMkLst>
            <pc:docMk/>
            <pc:sldMk cId="1166782262" sldId="268"/>
            <ac:picMk id="11" creationId="{C5C5DD02-91B7-46AA-D0B5-F164E3FA3FAF}"/>
          </ac:picMkLst>
        </pc:picChg>
        <pc:picChg chg="del mod">
          <ac:chgData name="Ronja Jenike" userId="264b806b-832f-4db5-b1cf-7edb9e584be7" providerId="ADAL" clId="{8189B4DC-810D-4004-9553-793E431DBA88}" dt="2025-04-12T16:04:58.631" v="495" actId="478"/>
          <ac:picMkLst>
            <pc:docMk/>
            <pc:sldMk cId="1166782262" sldId="268"/>
            <ac:picMk id="13" creationId="{BE3D79C5-201D-9C82-8F7D-BCECC0B3CD63}"/>
          </ac:picMkLst>
        </pc:picChg>
        <pc:picChg chg="del mod">
          <ac:chgData name="Ronja Jenike" userId="264b806b-832f-4db5-b1cf-7edb9e584be7" providerId="ADAL" clId="{8189B4DC-810D-4004-9553-793E431DBA88}" dt="2025-04-12T16:04:56.992" v="494" actId="478"/>
          <ac:picMkLst>
            <pc:docMk/>
            <pc:sldMk cId="1166782262" sldId="268"/>
            <ac:picMk id="15" creationId="{868E4B37-0BFC-364D-C81F-582142C552B9}"/>
          </ac:picMkLst>
        </pc:picChg>
        <pc:picChg chg="add del mod">
          <ac:chgData name="Ronja Jenike" userId="264b806b-832f-4db5-b1cf-7edb9e584be7" providerId="ADAL" clId="{8189B4DC-810D-4004-9553-793E431DBA88}" dt="2025-04-12T16:04:51.319" v="492" actId="478"/>
          <ac:picMkLst>
            <pc:docMk/>
            <pc:sldMk cId="1166782262" sldId="268"/>
            <ac:picMk id="17" creationId="{AC38AE7C-3BC3-69A7-BDF7-AD94B6006839}"/>
          </ac:picMkLst>
        </pc:picChg>
        <pc:picChg chg="add del mod">
          <ac:chgData name="Ronja Jenike" userId="264b806b-832f-4db5-b1cf-7edb9e584be7" providerId="ADAL" clId="{8189B4DC-810D-4004-9553-793E431DBA88}" dt="2025-04-12T16:04:55.282" v="493" actId="478"/>
          <ac:picMkLst>
            <pc:docMk/>
            <pc:sldMk cId="1166782262" sldId="268"/>
            <ac:picMk id="19" creationId="{6274DAE2-5648-8440-1890-D47C981A867A}"/>
          </ac:picMkLst>
        </pc:picChg>
        <pc:picChg chg="add mod">
          <ac:chgData name="Ronja Jenike" userId="264b806b-832f-4db5-b1cf-7edb9e584be7" providerId="ADAL" clId="{8189B4DC-810D-4004-9553-793E431DBA88}" dt="2025-04-12T16:06:54.743" v="506" actId="1076"/>
          <ac:picMkLst>
            <pc:docMk/>
            <pc:sldMk cId="1166782262" sldId="268"/>
            <ac:picMk id="23" creationId="{BCAD43F8-8F75-0B2F-B91A-663BC80E5C7C}"/>
          </ac:picMkLst>
        </pc:picChg>
      </pc:sldChg>
      <pc:sldChg chg="del">
        <pc:chgData name="Ronja Jenike" userId="264b806b-832f-4db5-b1cf-7edb9e584be7" providerId="ADAL" clId="{8189B4DC-810D-4004-9553-793E431DBA88}" dt="2025-04-12T20:21:46.574" v="1429" actId="47"/>
        <pc:sldMkLst>
          <pc:docMk/>
          <pc:sldMk cId="3912298375" sldId="269"/>
        </pc:sldMkLst>
      </pc:sldChg>
      <pc:sldChg chg="addSp delSp modSp mod ord">
        <pc:chgData name="Ronja Jenike" userId="264b806b-832f-4db5-b1cf-7edb9e584be7" providerId="ADAL" clId="{8189B4DC-810D-4004-9553-793E431DBA88}" dt="2025-04-12T20:30:12.652" v="1686" actId="478"/>
        <pc:sldMkLst>
          <pc:docMk/>
          <pc:sldMk cId="2488511785" sldId="270"/>
        </pc:sldMkLst>
        <pc:spChg chg="mod">
          <ac:chgData name="Ronja Jenike" userId="264b806b-832f-4db5-b1cf-7edb9e584be7" providerId="ADAL" clId="{8189B4DC-810D-4004-9553-793E431DBA88}" dt="2025-04-12T20:15:36.055" v="1075" actId="20577"/>
          <ac:spMkLst>
            <pc:docMk/>
            <pc:sldMk cId="2488511785" sldId="270"/>
            <ac:spMk id="2" creationId="{337D3234-D165-8CFA-AF72-66401195E88B}"/>
          </ac:spMkLst>
        </pc:spChg>
        <pc:spChg chg="mod">
          <ac:chgData name="Ronja Jenike" userId="264b806b-832f-4db5-b1cf-7edb9e584be7" providerId="ADAL" clId="{8189B4DC-810D-4004-9553-793E431DBA88}" dt="2025-04-12T20:18:43.677" v="1245" actId="20577"/>
          <ac:spMkLst>
            <pc:docMk/>
            <pc:sldMk cId="2488511785" sldId="270"/>
            <ac:spMk id="3" creationId="{94101C30-C9CC-0EF1-D450-B1FE4FA43F36}"/>
          </ac:spMkLst>
        </pc:spChg>
        <pc:spChg chg="del mod">
          <ac:chgData name="Ronja Jenike" userId="264b806b-832f-4db5-b1cf-7edb9e584be7" providerId="ADAL" clId="{8189B4DC-810D-4004-9553-793E431DBA88}" dt="2025-04-12T20:30:12.652" v="1686" actId="478"/>
          <ac:spMkLst>
            <pc:docMk/>
            <pc:sldMk cId="2488511785" sldId="270"/>
            <ac:spMk id="4" creationId="{E54FCFA0-46B3-96A1-3B7F-A10B33AF58D6}"/>
          </ac:spMkLst>
        </pc:spChg>
        <pc:spChg chg="mod">
          <ac:chgData name="Ronja Jenike" userId="264b806b-832f-4db5-b1cf-7edb9e584be7" providerId="ADAL" clId="{8189B4DC-810D-4004-9553-793E431DBA88}" dt="2025-04-12T20:18:22.560" v="1222" actId="20577"/>
          <ac:spMkLst>
            <pc:docMk/>
            <pc:sldMk cId="2488511785" sldId="270"/>
            <ac:spMk id="5" creationId="{40CCAD38-BD10-A057-8492-E6DD7FB3FF2E}"/>
          </ac:spMkLst>
        </pc:spChg>
        <pc:spChg chg="mod">
          <ac:chgData name="Ronja Jenike" userId="264b806b-832f-4db5-b1cf-7edb9e584be7" providerId="ADAL" clId="{8189B4DC-810D-4004-9553-793E431DBA88}" dt="2025-04-12T20:30:04.795" v="1685" actId="20577"/>
          <ac:spMkLst>
            <pc:docMk/>
            <pc:sldMk cId="2488511785" sldId="270"/>
            <ac:spMk id="8" creationId="{CF233E2A-D8CD-9E85-E3B1-50AB52D8D829}"/>
          </ac:spMkLst>
        </pc:spChg>
        <pc:spChg chg="mod ord">
          <ac:chgData name="Ronja Jenike" userId="264b806b-832f-4db5-b1cf-7edb9e584be7" providerId="ADAL" clId="{8189B4DC-810D-4004-9553-793E431DBA88}" dt="2025-04-11T07:58:58.955" v="106" actId="20577"/>
          <ac:spMkLst>
            <pc:docMk/>
            <pc:sldMk cId="2488511785" sldId="270"/>
            <ac:spMk id="9" creationId="{93208BFB-FA9C-9825-6736-FFA5C97CEE6D}"/>
          </ac:spMkLst>
        </pc:spChg>
        <pc:spChg chg="mod">
          <ac:chgData name="Ronja Jenike" userId="264b806b-832f-4db5-b1cf-7edb9e584be7" providerId="ADAL" clId="{8189B4DC-810D-4004-9553-793E431DBA88}" dt="2025-04-12T20:21:22.039" v="1418" actId="20577"/>
          <ac:spMkLst>
            <pc:docMk/>
            <pc:sldMk cId="2488511785" sldId="270"/>
            <ac:spMk id="10" creationId="{F0280F03-80D2-FDF7-CE16-4A78811303FA}"/>
          </ac:spMkLst>
        </pc:spChg>
        <pc:spChg chg="add del mod">
          <ac:chgData name="Ronja Jenike" userId="264b806b-832f-4db5-b1cf-7edb9e584be7" providerId="ADAL" clId="{8189B4DC-810D-4004-9553-793E431DBA88}" dt="2025-04-11T07:57:57.649" v="59" actId="931"/>
          <ac:spMkLst>
            <pc:docMk/>
            <pc:sldMk cId="2488511785" sldId="270"/>
            <ac:spMk id="17" creationId="{728F54B1-C26B-62B8-F591-B071F2958311}"/>
          </ac:spMkLst>
        </pc:spChg>
        <pc:spChg chg="add del mod">
          <ac:chgData name="Ronja Jenike" userId="264b806b-832f-4db5-b1cf-7edb9e584be7" providerId="ADAL" clId="{8189B4DC-810D-4004-9553-793E431DBA88}" dt="2025-04-11T07:59:29.254" v="115" actId="931"/>
          <ac:spMkLst>
            <pc:docMk/>
            <pc:sldMk cId="2488511785" sldId="270"/>
            <ac:spMk id="21" creationId="{C66EEDCF-7165-147B-8CD4-CE5FA9887ED7}"/>
          </ac:spMkLst>
        </pc:spChg>
        <pc:picChg chg="add mod">
          <ac:chgData name="Ronja Jenike" userId="264b806b-832f-4db5-b1cf-7edb9e584be7" providerId="ADAL" clId="{8189B4DC-810D-4004-9553-793E431DBA88}" dt="2025-04-10T20:45:46.852" v="2" actId="962"/>
          <ac:picMkLst>
            <pc:docMk/>
            <pc:sldMk cId="2488511785" sldId="270"/>
            <ac:picMk id="13" creationId="{49C90E57-1E7D-E3BD-9544-A051ED04BA22}"/>
          </ac:picMkLst>
        </pc:picChg>
        <pc:picChg chg="add del mod">
          <ac:chgData name="Ronja Jenike" userId="264b806b-832f-4db5-b1cf-7edb9e584be7" providerId="ADAL" clId="{8189B4DC-810D-4004-9553-793E431DBA88}" dt="2025-04-11T07:57:48.850" v="58" actId="478"/>
          <ac:picMkLst>
            <pc:docMk/>
            <pc:sldMk cId="2488511785" sldId="270"/>
            <ac:picMk id="15" creationId="{8A8714FE-DEED-9052-2A78-65902BED7F82}"/>
          </ac:picMkLst>
        </pc:picChg>
        <pc:picChg chg="add del mod">
          <ac:chgData name="Ronja Jenike" userId="264b806b-832f-4db5-b1cf-7edb9e584be7" providerId="ADAL" clId="{8189B4DC-810D-4004-9553-793E431DBA88}" dt="2025-04-11T07:58:15.752" v="62" actId="478"/>
          <ac:picMkLst>
            <pc:docMk/>
            <pc:sldMk cId="2488511785" sldId="270"/>
            <ac:picMk id="19" creationId="{DFE10CE2-8EAB-7A0D-20B2-EC600F8F6D1D}"/>
          </ac:picMkLst>
        </pc:picChg>
        <pc:picChg chg="add mod">
          <ac:chgData name="Ronja Jenike" userId="264b806b-832f-4db5-b1cf-7edb9e584be7" providerId="ADAL" clId="{8189B4DC-810D-4004-9553-793E431DBA88}" dt="2025-04-11T07:59:23.186" v="114" actId="931"/>
          <ac:picMkLst>
            <pc:docMk/>
            <pc:sldMk cId="2488511785" sldId="270"/>
            <ac:picMk id="23" creationId="{88401474-1026-088E-52BD-FD4387C1AA00}"/>
          </ac:picMkLst>
        </pc:picChg>
        <pc:picChg chg="add mod">
          <ac:chgData name="Ronja Jenike" userId="264b806b-832f-4db5-b1cf-7edb9e584be7" providerId="ADAL" clId="{8189B4DC-810D-4004-9553-793E431DBA88}" dt="2025-04-11T07:59:31.346" v="116" actId="27614"/>
          <ac:picMkLst>
            <pc:docMk/>
            <pc:sldMk cId="2488511785" sldId="270"/>
            <ac:picMk id="25" creationId="{03ACC52A-2D4C-2C15-CB3D-B98002D518B8}"/>
          </ac:picMkLst>
        </pc:picChg>
      </pc:sldChg>
      <pc:sldChg chg="del">
        <pc:chgData name="Ronja Jenike" userId="264b806b-832f-4db5-b1cf-7edb9e584be7" providerId="ADAL" clId="{8189B4DC-810D-4004-9553-793E431DBA88}" dt="2025-04-12T20:21:47.228" v="1430" actId="47"/>
        <pc:sldMkLst>
          <pc:docMk/>
          <pc:sldMk cId="2266180448" sldId="271"/>
        </pc:sldMkLst>
      </pc:sldChg>
      <pc:sldChg chg="del">
        <pc:chgData name="Ronja Jenike" userId="264b806b-832f-4db5-b1cf-7edb9e584be7" providerId="ADAL" clId="{8189B4DC-810D-4004-9553-793E431DBA88}" dt="2025-04-12T20:22:11.275" v="1431" actId="47"/>
        <pc:sldMkLst>
          <pc:docMk/>
          <pc:sldMk cId="1542995756" sldId="272"/>
        </pc:sldMkLst>
      </pc:sldChg>
      <pc:sldChg chg="addSp delSp modSp del mod">
        <pc:chgData name="Ronja Jenike" userId="264b806b-832f-4db5-b1cf-7edb9e584be7" providerId="ADAL" clId="{8189B4DC-810D-4004-9553-793E431DBA88}" dt="2025-04-12T20:22:35.685" v="1434" actId="47"/>
        <pc:sldMkLst>
          <pc:docMk/>
          <pc:sldMk cId="1872991801" sldId="273"/>
        </pc:sldMkLst>
        <pc:spChg chg="del">
          <ac:chgData name="Ronja Jenike" userId="264b806b-832f-4db5-b1cf-7edb9e584be7" providerId="ADAL" clId="{8189B4DC-810D-4004-9553-793E431DBA88}" dt="2025-04-12T20:22:23.133" v="1432" actId="931"/>
          <ac:spMkLst>
            <pc:docMk/>
            <pc:sldMk cId="1872991801" sldId="273"/>
            <ac:spMk id="5" creationId="{28041EDF-23E2-BE61-9B59-7E7878578F02}"/>
          </ac:spMkLst>
        </pc:spChg>
        <pc:spChg chg="add mod">
          <ac:chgData name="Ronja Jenike" userId="264b806b-832f-4db5-b1cf-7edb9e584be7" providerId="ADAL" clId="{8189B4DC-810D-4004-9553-793E431DBA88}" dt="2025-04-12T20:22:25.315" v="1433" actId="478"/>
          <ac:spMkLst>
            <pc:docMk/>
            <pc:sldMk cId="1872991801" sldId="273"/>
            <ac:spMk id="11" creationId="{1BEB62F7-88AE-26B2-1F0A-3235293C084B}"/>
          </ac:spMkLst>
        </pc:spChg>
        <pc:picChg chg="add del mod">
          <ac:chgData name="Ronja Jenike" userId="264b806b-832f-4db5-b1cf-7edb9e584be7" providerId="ADAL" clId="{8189B4DC-810D-4004-9553-793E431DBA88}" dt="2025-04-12T20:22:25.315" v="1433" actId="478"/>
          <ac:picMkLst>
            <pc:docMk/>
            <pc:sldMk cId="1872991801" sldId="273"/>
            <ac:picMk id="9" creationId="{465F8B71-9A91-63BA-3D35-5561E0E04D87}"/>
          </ac:picMkLst>
        </pc:picChg>
      </pc:sldChg>
      <pc:sldChg chg="del">
        <pc:chgData name="Ronja Jenike" userId="264b806b-832f-4db5-b1cf-7edb9e584be7" providerId="ADAL" clId="{8189B4DC-810D-4004-9553-793E431DBA88}" dt="2025-04-12T20:22:41.864" v="1435" actId="47"/>
        <pc:sldMkLst>
          <pc:docMk/>
          <pc:sldMk cId="3528726494" sldId="274"/>
        </pc:sldMkLst>
      </pc:sldChg>
      <pc:sldChg chg="del">
        <pc:chgData name="Ronja Jenike" userId="264b806b-832f-4db5-b1cf-7edb9e584be7" providerId="ADAL" clId="{8189B4DC-810D-4004-9553-793E431DBA88}" dt="2025-04-12T20:22:42.761" v="1436" actId="47"/>
        <pc:sldMkLst>
          <pc:docMk/>
          <pc:sldMk cId="3145006486" sldId="275"/>
        </pc:sldMkLst>
      </pc:sldChg>
      <pc:sldChg chg="addSp delSp modSp mod">
        <pc:chgData name="Ronja Jenike" userId="264b806b-832f-4db5-b1cf-7edb9e584be7" providerId="ADAL" clId="{8189B4DC-810D-4004-9553-793E431DBA88}" dt="2025-04-12T20:24:01.455" v="1504" actId="20577"/>
        <pc:sldMkLst>
          <pc:docMk/>
          <pc:sldMk cId="51299510" sldId="276"/>
        </pc:sldMkLst>
        <pc:spChg chg="mod">
          <ac:chgData name="Ronja Jenike" userId="264b806b-832f-4db5-b1cf-7edb9e584be7" providerId="ADAL" clId="{8189B4DC-810D-4004-9553-793E431DBA88}" dt="2025-04-12T20:23:46.229" v="1464" actId="20577"/>
          <ac:spMkLst>
            <pc:docMk/>
            <pc:sldMk cId="51299510" sldId="276"/>
            <ac:spMk id="2" creationId="{0C7883AF-D8C1-BC8E-1958-EE436F641C44}"/>
          </ac:spMkLst>
        </pc:spChg>
        <pc:spChg chg="del">
          <ac:chgData name="Ronja Jenike" userId="264b806b-832f-4db5-b1cf-7edb9e584be7" providerId="ADAL" clId="{8189B4DC-810D-4004-9553-793E431DBA88}" dt="2025-04-12T20:23:00.454" v="1440" actId="931"/>
          <ac:spMkLst>
            <pc:docMk/>
            <pc:sldMk cId="51299510" sldId="276"/>
            <ac:spMk id="3" creationId="{74C7BA18-4849-F2FA-BBA9-D9FFFD3DB676}"/>
          </ac:spMkLst>
        </pc:spChg>
        <pc:spChg chg="mod">
          <ac:chgData name="Ronja Jenike" userId="264b806b-832f-4db5-b1cf-7edb9e584be7" providerId="ADAL" clId="{8189B4DC-810D-4004-9553-793E431DBA88}" dt="2025-04-12T20:24:01.455" v="1504" actId="20577"/>
          <ac:spMkLst>
            <pc:docMk/>
            <pc:sldMk cId="51299510" sldId="276"/>
            <ac:spMk id="4" creationId="{0E858A60-B6A7-0ECA-E6B6-4D15334B9810}"/>
          </ac:spMkLst>
        </pc:spChg>
        <pc:spChg chg="add del mod">
          <ac:chgData name="Ronja Jenike" userId="264b806b-832f-4db5-b1cf-7edb9e584be7" providerId="ADAL" clId="{8189B4DC-810D-4004-9553-793E431DBA88}" dt="2025-04-12T20:23:28.230" v="1444" actId="931"/>
          <ac:spMkLst>
            <pc:docMk/>
            <pc:sldMk cId="51299510" sldId="276"/>
            <ac:spMk id="8" creationId="{B6B13D62-21EF-2121-7702-06ACD91C2E57}"/>
          </ac:spMkLst>
        </pc:spChg>
        <pc:spChg chg="add del mod">
          <ac:chgData name="Ronja Jenike" userId="264b806b-832f-4db5-b1cf-7edb9e584be7" providerId="ADAL" clId="{8189B4DC-810D-4004-9553-793E431DBA88}" dt="2025-04-12T20:23:40.351" v="1449" actId="931"/>
          <ac:spMkLst>
            <pc:docMk/>
            <pc:sldMk cId="51299510" sldId="276"/>
            <ac:spMk id="12" creationId="{1FA47FAA-F678-D8E7-8010-D339769F6834}"/>
          </ac:spMkLst>
        </pc:spChg>
        <pc:picChg chg="add del mod">
          <ac:chgData name="Ronja Jenike" userId="264b806b-832f-4db5-b1cf-7edb9e584be7" providerId="ADAL" clId="{8189B4DC-810D-4004-9553-793E431DBA88}" dt="2025-04-12T20:23:05.932" v="1443" actId="478"/>
          <ac:picMkLst>
            <pc:docMk/>
            <pc:sldMk cId="51299510" sldId="276"/>
            <ac:picMk id="6" creationId="{3E055031-F6EE-A7CF-7066-CD36FC1BED62}"/>
          </ac:picMkLst>
        </pc:picChg>
        <pc:picChg chg="add del mod">
          <ac:chgData name="Ronja Jenike" userId="264b806b-832f-4db5-b1cf-7edb9e584be7" providerId="ADAL" clId="{8189B4DC-810D-4004-9553-793E431DBA88}" dt="2025-04-12T20:23:33.521" v="1448" actId="478"/>
          <ac:picMkLst>
            <pc:docMk/>
            <pc:sldMk cId="51299510" sldId="276"/>
            <ac:picMk id="10" creationId="{00580D36-C6BB-BC98-9E88-65D5615CD038}"/>
          </ac:picMkLst>
        </pc:picChg>
        <pc:picChg chg="add mod">
          <ac:chgData name="Ronja Jenike" userId="264b806b-832f-4db5-b1cf-7edb9e584be7" providerId="ADAL" clId="{8189B4DC-810D-4004-9553-793E431DBA88}" dt="2025-04-12T20:23:44.658" v="1455" actId="27614"/>
          <ac:picMkLst>
            <pc:docMk/>
            <pc:sldMk cId="51299510" sldId="276"/>
            <ac:picMk id="14" creationId="{8B8765E6-3391-C30B-FEC1-C67E488689C0}"/>
          </ac:picMkLst>
        </pc:picChg>
      </pc:sldChg>
      <pc:sldChg chg="del">
        <pc:chgData name="Ronja Jenike" userId="264b806b-832f-4db5-b1cf-7edb9e584be7" providerId="ADAL" clId="{8189B4DC-810D-4004-9553-793E431DBA88}" dt="2025-04-12T20:30:30.319" v="1687" actId="47"/>
        <pc:sldMkLst>
          <pc:docMk/>
          <pc:sldMk cId="1061410753" sldId="277"/>
        </pc:sldMkLst>
      </pc:sldChg>
      <pc:sldChg chg="del">
        <pc:chgData name="Ronja Jenike" userId="264b806b-832f-4db5-b1cf-7edb9e584be7" providerId="ADAL" clId="{8189B4DC-810D-4004-9553-793E431DBA88}" dt="2025-04-12T20:21:34.980" v="1422" actId="47"/>
        <pc:sldMkLst>
          <pc:docMk/>
          <pc:sldMk cId="2489252462" sldId="278"/>
        </pc:sldMkLst>
      </pc:sldChg>
      <pc:sldChg chg="del">
        <pc:chgData name="Ronja Jenike" userId="264b806b-832f-4db5-b1cf-7edb9e584be7" providerId="ADAL" clId="{8189B4DC-810D-4004-9553-793E431DBA88}" dt="2025-04-12T20:22:43.914" v="1437" actId="47"/>
        <pc:sldMkLst>
          <pc:docMk/>
          <pc:sldMk cId="4228900693" sldId="280"/>
        </pc:sldMkLst>
      </pc:sldChg>
      <pc:sldChg chg="del">
        <pc:chgData name="Ronja Jenike" userId="264b806b-832f-4db5-b1cf-7edb9e584be7" providerId="ADAL" clId="{8189B4DC-810D-4004-9553-793E431DBA88}" dt="2025-04-12T20:22:44.351" v="1438" actId="47"/>
        <pc:sldMkLst>
          <pc:docMk/>
          <pc:sldMk cId="1059811723" sldId="281"/>
        </pc:sldMkLst>
      </pc:sldChg>
      <pc:sldChg chg="del">
        <pc:chgData name="Ronja Jenike" userId="264b806b-832f-4db5-b1cf-7edb9e584be7" providerId="ADAL" clId="{8189B4DC-810D-4004-9553-793E431DBA88}" dt="2025-04-12T20:22:44.652" v="1439" actId="47"/>
        <pc:sldMkLst>
          <pc:docMk/>
          <pc:sldMk cId="1351309014" sldId="282"/>
        </pc:sldMkLst>
      </pc:sldChg>
      <pc:sldChg chg="addSp delSp modSp mod ord modClrScheme chgLayout">
        <pc:chgData name="Ronja Jenike" userId="264b806b-832f-4db5-b1cf-7edb9e584be7" providerId="ADAL" clId="{8189B4DC-810D-4004-9553-793E431DBA88}" dt="2025-04-12T20:20:44.814" v="1366" actId="20577"/>
        <pc:sldMkLst>
          <pc:docMk/>
          <pc:sldMk cId="3476147159" sldId="283"/>
        </pc:sldMkLst>
        <pc:spChg chg="mod">
          <ac:chgData name="Ronja Jenike" userId="264b806b-832f-4db5-b1cf-7edb9e584be7" providerId="ADAL" clId="{8189B4DC-810D-4004-9553-793E431DBA88}" dt="2025-04-11T08:47:49.572" v="490" actId="26606"/>
          <ac:spMkLst>
            <pc:docMk/>
            <pc:sldMk cId="3476147159" sldId="283"/>
            <ac:spMk id="2" creationId="{325F8FBF-5EA9-BF0A-94DA-A3AB396528B2}"/>
          </ac:spMkLst>
        </pc:spChg>
        <pc:spChg chg="del">
          <ac:chgData name="Ronja Jenike" userId="264b806b-832f-4db5-b1cf-7edb9e584be7" providerId="ADAL" clId="{8189B4DC-810D-4004-9553-793E431DBA88}" dt="2025-04-11T08:46:52.127" v="413" actId="478"/>
          <ac:spMkLst>
            <pc:docMk/>
            <pc:sldMk cId="3476147159" sldId="283"/>
            <ac:spMk id="3" creationId="{FB38A633-32FA-CABB-E4D9-7200AD9974B1}"/>
          </ac:spMkLst>
        </pc:spChg>
        <pc:spChg chg="mod ord">
          <ac:chgData name="Ronja Jenike" userId="264b806b-832f-4db5-b1cf-7edb9e584be7" providerId="ADAL" clId="{8189B4DC-810D-4004-9553-793E431DBA88}" dt="2025-04-11T08:47:49.572" v="490" actId="26606"/>
          <ac:spMkLst>
            <pc:docMk/>
            <pc:sldMk cId="3476147159" sldId="283"/>
            <ac:spMk id="4" creationId="{2A10292D-A83C-6B8C-5632-E308C357AEB4}"/>
          </ac:spMkLst>
        </pc:spChg>
        <pc:spChg chg="del mod">
          <ac:chgData name="Ronja Jenike" userId="264b806b-832f-4db5-b1cf-7edb9e584be7" providerId="ADAL" clId="{8189B4DC-810D-4004-9553-793E431DBA88}" dt="2025-04-11T08:43:37.555" v="384" actId="931"/>
          <ac:spMkLst>
            <pc:docMk/>
            <pc:sldMk cId="3476147159" sldId="283"/>
            <ac:spMk id="5" creationId="{61507120-CFBA-1BBA-2DF2-EB1064807735}"/>
          </ac:spMkLst>
        </pc:spChg>
        <pc:spChg chg="mod">
          <ac:chgData name="Ronja Jenike" userId="264b806b-832f-4db5-b1cf-7edb9e584be7" providerId="ADAL" clId="{8189B4DC-810D-4004-9553-793E431DBA88}" dt="2025-04-12T20:20:44.814" v="1366" actId="20577"/>
          <ac:spMkLst>
            <pc:docMk/>
            <pc:sldMk cId="3476147159" sldId="283"/>
            <ac:spMk id="6" creationId="{F1237687-FD60-CF2E-DBBD-BA55408FE4EC}"/>
          </ac:spMkLst>
        </pc:spChg>
        <pc:spChg chg="mod">
          <ac:chgData name="Ronja Jenike" userId="264b806b-832f-4db5-b1cf-7edb9e584be7" providerId="ADAL" clId="{8189B4DC-810D-4004-9553-793E431DBA88}" dt="2025-04-11T08:47:49.572" v="490" actId="26606"/>
          <ac:spMkLst>
            <pc:docMk/>
            <pc:sldMk cId="3476147159" sldId="283"/>
            <ac:spMk id="7" creationId="{A83D6F8B-D830-7C2A-3906-25D241165B8B}"/>
          </ac:spMkLst>
        </pc:spChg>
        <pc:spChg chg="add del mod">
          <ac:chgData name="Ronja Jenike" userId="264b806b-832f-4db5-b1cf-7edb9e584be7" providerId="ADAL" clId="{8189B4DC-810D-4004-9553-793E431DBA88}" dt="2025-04-11T08:46:55.017" v="414" actId="478"/>
          <ac:spMkLst>
            <pc:docMk/>
            <pc:sldMk cId="3476147159" sldId="283"/>
            <ac:spMk id="17" creationId="{1E89878A-6E89-27F2-D418-735031458874}"/>
          </ac:spMkLst>
        </pc:spChg>
        <pc:spChg chg="add del mod">
          <ac:chgData name="Ronja Jenike" userId="264b806b-832f-4db5-b1cf-7edb9e584be7" providerId="ADAL" clId="{8189B4DC-810D-4004-9553-793E431DBA88}" dt="2025-04-11T08:47:49.564" v="489" actId="26606"/>
          <ac:spMkLst>
            <pc:docMk/>
            <pc:sldMk cId="3476147159" sldId="283"/>
            <ac:spMk id="18" creationId="{C7D83E89-C70F-9403-11FE-D35A04EF331E}"/>
          </ac:spMkLst>
        </pc:spChg>
        <pc:spChg chg="add del mod">
          <ac:chgData name="Ronja Jenike" userId="264b806b-832f-4db5-b1cf-7edb9e584be7" providerId="ADAL" clId="{8189B4DC-810D-4004-9553-793E431DBA88}" dt="2025-04-11T08:47:49.564" v="489" actId="26606"/>
          <ac:spMkLst>
            <pc:docMk/>
            <pc:sldMk cId="3476147159" sldId="283"/>
            <ac:spMk id="19" creationId="{946249AD-127D-BB46-2F34-F0B56E2CEE93}"/>
          </ac:spMkLst>
        </pc:spChg>
        <pc:spChg chg="add del mod">
          <ac:chgData name="Ronja Jenike" userId="264b806b-832f-4db5-b1cf-7edb9e584be7" providerId="ADAL" clId="{8189B4DC-810D-4004-9553-793E431DBA88}" dt="2025-04-11T08:47:37.933" v="485" actId="26606"/>
          <ac:spMkLst>
            <pc:docMk/>
            <pc:sldMk cId="3476147159" sldId="283"/>
            <ac:spMk id="20" creationId="{C7D83E89-C70F-9403-11FE-D35A04EF331E}"/>
          </ac:spMkLst>
        </pc:spChg>
        <pc:spChg chg="add del mod">
          <ac:chgData name="Ronja Jenike" userId="264b806b-832f-4db5-b1cf-7edb9e584be7" providerId="ADAL" clId="{8189B4DC-810D-4004-9553-793E431DBA88}" dt="2025-04-11T08:47:49.564" v="489" actId="26606"/>
          <ac:spMkLst>
            <pc:docMk/>
            <pc:sldMk cId="3476147159" sldId="283"/>
            <ac:spMk id="21" creationId="{0FAA76E7-F7CD-2816-06C3-B8BDCD697F58}"/>
          </ac:spMkLst>
        </pc:spChg>
        <pc:spChg chg="add del mod">
          <ac:chgData name="Ronja Jenike" userId="264b806b-832f-4db5-b1cf-7edb9e584be7" providerId="ADAL" clId="{8189B4DC-810D-4004-9553-793E431DBA88}" dt="2025-04-11T08:47:37.933" v="485" actId="26606"/>
          <ac:spMkLst>
            <pc:docMk/>
            <pc:sldMk cId="3476147159" sldId="283"/>
            <ac:spMk id="22" creationId="{946249AD-127D-BB46-2F34-F0B56E2CEE93}"/>
          </ac:spMkLst>
        </pc:spChg>
        <pc:spChg chg="add del mod">
          <ac:chgData name="Ronja Jenike" userId="264b806b-832f-4db5-b1cf-7edb9e584be7" providerId="ADAL" clId="{8189B4DC-810D-4004-9553-793E431DBA88}" dt="2025-04-11T08:47:49.564" v="489" actId="26606"/>
          <ac:spMkLst>
            <pc:docMk/>
            <pc:sldMk cId="3476147159" sldId="283"/>
            <ac:spMk id="23" creationId="{4712CA1D-59FD-0DE1-4CF5-C813CD100C57}"/>
          </ac:spMkLst>
        </pc:spChg>
        <pc:spChg chg="add del mod">
          <ac:chgData name="Ronja Jenike" userId="264b806b-832f-4db5-b1cf-7edb9e584be7" providerId="ADAL" clId="{8189B4DC-810D-4004-9553-793E431DBA88}" dt="2025-04-11T08:47:37.933" v="485" actId="26606"/>
          <ac:spMkLst>
            <pc:docMk/>
            <pc:sldMk cId="3476147159" sldId="283"/>
            <ac:spMk id="24" creationId="{0FAA76E7-F7CD-2816-06C3-B8BDCD697F58}"/>
          </ac:spMkLst>
        </pc:spChg>
        <pc:spChg chg="add del mod">
          <ac:chgData name="Ronja Jenike" userId="264b806b-832f-4db5-b1cf-7edb9e584be7" providerId="ADAL" clId="{8189B4DC-810D-4004-9553-793E431DBA88}" dt="2025-04-11T08:47:49.564" v="489" actId="26606"/>
          <ac:spMkLst>
            <pc:docMk/>
            <pc:sldMk cId="3476147159" sldId="283"/>
            <ac:spMk id="25" creationId="{86FF3A10-5AE2-0BAC-B6CA-012B90A917BD}"/>
          </ac:spMkLst>
        </pc:spChg>
        <pc:spChg chg="add del mod">
          <ac:chgData name="Ronja Jenike" userId="264b806b-832f-4db5-b1cf-7edb9e584be7" providerId="ADAL" clId="{8189B4DC-810D-4004-9553-793E431DBA88}" dt="2025-04-11T08:47:37.933" v="485" actId="26606"/>
          <ac:spMkLst>
            <pc:docMk/>
            <pc:sldMk cId="3476147159" sldId="283"/>
            <ac:spMk id="26" creationId="{4712CA1D-59FD-0DE1-4CF5-C813CD100C57}"/>
          </ac:spMkLst>
        </pc:spChg>
        <pc:spChg chg="add del mod">
          <ac:chgData name="Ronja Jenike" userId="264b806b-832f-4db5-b1cf-7edb9e584be7" providerId="ADAL" clId="{8189B4DC-810D-4004-9553-793E431DBA88}" dt="2025-04-11T08:47:49.564" v="489" actId="26606"/>
          <ac:spMkLst>
            <pc:docMk/>
            <pc:sldMk cId="3476147159" sldId="283"/>
            <ac:spMk id="27" creationId="{024829A7-4918-3001-FDC9-013A9CCCBCEB}"/>
          </ac:spMkLst>
        </pc:spChg>
        <pc:spChg chg="add del mod">
          <ac:chgData name="Ronja Jenike" userId="264b806b-832f-4db5-b1cf-7edb9e584be7" providerId="ADAL" clId="{8189B4DC-810D-4004-9553-793E431DBA88}" dt="2025-04-11T08:47:37.933" v="485" actId="26606"/>
          <ac:spMkLst>
            <pc:docMk/>
            <pc:sldMk cId="3476147159" sldId="283"/>
            <ac:spMk id="28" creationId="{86FF3A10-5AE2-0BAC-B6CA-012B90A917BD}"/>
          </ac:spMkLst>
        </pc:spChg>
        <pc:spChg chg="add del mod">
          <ac:chgData name="Ronja Jenike" userId="264b806b-832f-4db5-b1cf-7edb9e584be7" providerId="ADAL" clId="{8189B4DC-810D-4004-9553-793E431DBA88}" dt="2025-04-11T08:47:37.933" v="485" actId="26606"/>
          <ac:spMkLst>
            <pc:docMk/>
            <pc:sldMk cId="3476147159" sldId="283"/>
            <ac:spMk id="30" creationId="{024829A7-4918-3001-FDC9-013A9CCCBCEB}"/>
          </ac:spMkLst>
        </pc:spChg>
        <pc:picChg chg="add mod ord">
          <ac:chgData name="Ronja Jenike" userId="264b806b-832f-4db5-b1cf-7edb9e584be7" providerId="ADAL" clId="{8189B4DC-810D-4004-9553-793E431DBA88}" dt="2025-04-11T08:47:49.572" v="490" actId="26606"/>
          <ac:picMkLst>
            <pc:docMk/>
            <pc:sldMk cId="3476147159" sldId="283"/>
            <ac:picMk id="9" creationId="{586F70F1-2C55-62DA-B833-81F31F9D8044}"/>
          </ac:picMkLst>
        </pc:picChg>
        <pc:picChg chg="add del mod">
          <ac:chgData name="Ronja Jenike" userId="264b806b-832f-4db5-b1cf-7edb9e584be7" providerId="ADAL" clId="{8189B4DC-810D-4004-9553-793E431DBA88}" dt="2025-04-11T08:45:25.314" v="395" actId="478"/>
          <ac:picMkLst>
            <pc:docMk/>
            <pc:sldMk cId="3476147159" sldId="283"/>
            <ac:picMk id="11" creationId="{8D50B42B-516F-66EB-B1DD-1EAA736C7052}"/>
          </ac:picMkLst>
        </pc:picChg>
        <pc:picChg chg="add mod">
          <ac:chgData name="Ronja Jenike" userId="264b806b-832f-4db5-b1cf-7edb9e584be7" providerId="ADAL" clId="{8189B4DC-810D-4004-9553-793E431DBA88}" dt="2025-04-11T08:47:49.572" v="490" actId="26606"/>
          <ac:picMkLst>
            <pc:docMk/>
            <pc:sldMk cId="3476147159" sldId="283"/>
            <ac:picMk id="13" creationId="{5D228762-9518-1A9E-2E4B-ADFE046690E6}"/>
          </ac:picMkLst>
        </pc:picChg>
        <pc:picChg chg="add mod ord">
          <ac:chgData name="Ronja Jenike" userId="264b806b-832f-4db5-b1cf-7edb9e584be7" providerId="ADAL" clId="{8189B4DC-810D-4004-9553-793E431DBA88}" dt="2025-04-11T08:47:49.572" v="490" actId="26606"/>
          <ac:picMkLst>
            <pc:docMk/>
            <pc:sldMk cId="3476147159" sldId="283"/>
            <ac:picMk id="15" creationId="{40BE3D79-F89F-E37B-0045-5386BC17CE32}"/>
          </ac:picMkLst>
        </pc:picChg>
      </pc:sldChg>
      <pc:sldChg chg="addSp delSp modSp add del mod ord">
        <pc:chgData name="Ronja Jenike" userId="264b806b-832f-4db5-b1cf-7edb9e584be7" providerId="ADAL" clId="{8189B4DC-810D-4004-9553-793E431DBA88}" dt="2025-04-12T20:07:34.987" v="703" actId="2696"/>
        <pc:sldMkLst>
          <pc:docMk/>
          <pc:sldMk cId="1427919725" sldId="284"/>
        </pc:sldMkLst>
        <pc:spChg chg="add del mod">
          <ac:chgData name="Ronja Jenike" userId="264b806b-832f-4db5-b1cf-7edb9e584be7" providerId="ADAL" clId="{8189B4DC-810D-4004-9553-793E431DBA88}" dt="2025-04-12T20:04:52.977" v="597" actId="931"/>
          <ac:spMkLst>
            <pc:docMk/>
            <pc:sldMk cId="1427919725" sldId="284"/>
            <ac:spMk id="7" creationId="{DFF55AAA-C7D3-8A0E-33D5-90E539A5FD03}"/>
          </ac:spMkLst>
        </pc:spChg>
        <pc:spChg chg="mod ord">
          <ac:chgData name="Ronja Jenike" userId="264b806b-832f-4db5-b1cf-7edb9e584be7" providerId="ADAL" clId="{8189B4DC-810D-4004-9553-793E431DBA88}" dt="2025-04-12T20:05:43.321" v="621" actId="20577"/>
          <ac:spMkLst>
            <pc:docMk/>
            <pc:sldMk cId="1427919725" sldId="284"/>
            <ac:spMk id="8" creationId="{DC0CE307-32C5-73CB-0477-3B2F157B3813}"/>
          </ac:spMkLst>
        </pc:spChg>
        <pc:spChg chg="mod">
          <ac:chgData name="Ronja Jenike" userId="264b806b-832f-4db5-b1cf-7edb9e584be7" providerId="ADAL" clId="{8189B4DC-810D-4004-9553-793E431DBA88}" dt="2025-04-12T20:05:51.232" v="639" actId="20577"/>
          <ac:spMkLst>
            <pc:docMk/>
            <pc:sldMk cId="1427919725" sldId="284"/>
            <ac:spMk id="9" creationId="{BDF3D4C7-1071-5578-7315-45C2309A7FA2}"/>
          </ac:spMkLst>
        </pc:spChg>
        <pc:picChg chg="del">
          <ac:chgData name="Ronja Jenike" userId="264b806b-832f-4db5-b1cf-7edb9e584be7" providerId="ADAL" clId="{8189B4DC-810D-4004-9553-793E431DBA88}" dt="2025-04-12T20:04:46.621" v="596" actId="478"/>
          <ac:picMkLst>
            <pc:docMk/>
            <pc:sldMk cId="1427919725" sldId="284"/>
            <ac:picMk id="13" creationId="{E65082DB-5AB7-A3BB-E138-D79796B8F594}"/>
          </ac:picMkLst>
        </pc:picChg>
        <pc:picChg chg="add mod">
          <ac:chgData name="Ronja Jenike" userId="264b806b-832f-4db5-b1cf-7edb9e584be7" providerId="ADAL" clId="{8189B4DC-810D-4004-9553-793E431DBA88}" dt="2025-04-12T20:04:56.022" v="598" actId="27614"/>
          <ac:picMkLst>
            <pc:docMk/>
            <pc:sldMk cId="1427919725" sldId="284"/>
            <ac:picMk id="14" creationId="{EDDC5003-E123-274F-D092-5DF4EFC6A9F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1CAC590-167F-F39D-B0A3-734172DA52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326B26-817F-2F04-7C8D-F40282599E9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248302-7DFC-4EB9-A918-849D8D1315EA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5D1C0D-4090-F1BF-C3E2-190E27383B5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16212C-08A5-23C1-F196-2CE527EF26D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09DE6D-8A4F-4A30-9680-C461B8EEAF7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74920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8201A8-416C-41D5-BCFA-0575E2C28479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60E1E8-5050-4CE2-854A-AAE4509A6B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89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16000" indent="-216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32000" indent="-216000" algn="l" defTabSz="914400" rtl="0" eaLnBrk="1" latinLnBrk="0" hangingPunct="1">
      <a:spcAft>
        <a:spcPts val="300"/>
      </a:spcAft>
      <a:buClr>
        <a:schemeClr val="accent1"/>
      </a:buClr>
      <a:buFont typeface="Aptos" panose="020B0004020202020204" pitchFamily="34" charset="0"/>
      <a:buChar char="→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48000" indent="-216000" algn="l" defTabSz="914400" rtl="0" eaLnBrk="1" latinLnBrk="0" hangingPunct="1">
      <a:spcAft>
        <a:spcPts val="300"/>
      </a:spcAft>
      <a:buClr>
        <a:schemeClr val="accent6"/>
      </a:buClr>
      <a:buFont typeface="Aptos" panose="020B0004020202020204" pitchFamily="34" charset="0"/>
      <a:buChar char="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64000" indent="-216000" algn="l" defTabSz="914400" rtl="0" eaLnBrk="1" latinLnBrk="0" hangingPunct="1">
      <a:spcAft>
        <a:spcPts val="300"/>
      </a:spcAft>
      <a:buClr>
        <a:schemeClr val="accent6"/>
      </a:buClr>
      <a:buFont typeface="Aptos" panose="020B0004020202020204" pitchFamily="34" charset="0"/>
      <a:buChar char="→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80000" indent="-216000" algn="l" defTabSz="914400" rtl="0" eaLnBrk="1" latinLnBrk="0" hangingPunct="1">
      <a:spcAft>
        <a:spcPts val="300"/>
      </a:spcAft>
      <a:buClr>
        <a:schemeClr val="accent6"/>
      </a:buClr>
      <a:buFont typeface="Aptos" panose="020B0004020202020204" pitchFamily="34" charset="0"/>
      <a:buChar char="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 Bild &amp;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ED1259-2568-417F-D648-75F9381EEC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4860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ED1259-2568-417F-D648-75F9381EE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5923831F-5FF3-97CD-2E96-2E2C9853E606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70826">
                  <a:alpha val="70000"/>
                </a:srgbClr>
              </a:gs>
              <a:gs pos="100000">
                <a:srgbClr val="FBB900">
                  <a:alpha val="7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8A382A-8A03-DB33-48C4-155F2ED599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75050" y="2566985"/>
            <a:ext cx="5554436" cy="1107996"/>
          </a:xfrm>
        </p:spPr>
        <p:txBody>
          <a:bodyPr vert="horz" wrap="square" anchor="b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189C71D-8321-A8EE-7C6D-17CF841DD5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75050" y="3886200"/>
            <a:ext cx="5554436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4169D05-EEA5-645E-6233-7328150F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762" b="8005"/>
          <a:stretch/>
        </p:blipFill>
        <p:spPr>
          <a:xfrm rot="10800000">
            <a:off x="6877050" y="-2"/>
            <a:ext cx="5314950" cy="513397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B5ABEE2-6CDC-5241-B09C-9093323AA5E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black">
          <a:xfrm>
            <a:off x="9650017" y="4103293"/>
            <a:ext cx="1846658" cy="1846658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B868B76D-AFD0-1EE5-1F48-280C8254EDB9}"/>
              </a:ext>
            </a:extLst>
          </p:cNvPr>
          <p:cNvSpPr/>
          <p:nvPr userDrawn="1"/>
        </p:nvSpPr>
        <p:spPr>
          <a:xfrm>
            <a:off x="12341678" y="1"/>
            <a:ext cx="2523671" cy="1647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/>
            <a:r>
              <a:rPr lang="de-DE" sz="1400" dirty="0">
                <a:solidFill>
                  <a:schemeClr val="bg1"/>
                </a:solidFill>
              </a:rPr>
              <a:t>Um ein Hintergrundbild hinzuzufügen, klicken Sie mit der rechten Maustaste auf die Folie – „Hintergrund formatieren“ – „Bild oder Texturfüllung“. </a:t>
            </a:r>
            <a:endParaRPr lang="en-CA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918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  <p15:guide id="2" pos="2252" userDrawn="1">
          <p15:clr>
            <a:srgbClr val="FBAE40"/>
          </p15:clr>
        </p15:guide>
        <p15:guide id="3" pos="724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14B7399F-56DE-17E6-3DA9-35B8E53ED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09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7399F-56DE-17E6-3DA9-35B8E53ED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BFFFCBD4-E7AF-E795-36E1-DAE29E59A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 rot="10800000">
            <a:off x="7026108" y="-2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4203700"/>
            <a:ext cx="3600009" cy="17462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C465308-8F92-1B2A-E03A-5A2151296C6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95777" y="4203700"/>
            <a:ext cx="3600009" cy="17462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3367D816-E1F3-720B-8D8A-542C86DA79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84004" y="4203700"/>
            <a:ext cx="3600009" cy="17462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29A5B07-4EDB-3DA1-F0F3-16950C6DC49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1484313"/>
            <a:ext cx="3600450" cy="2173287"/>
          </a:xfrm>
          <a:solidFill>
            <a:schemeClr val="accent5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A26D2DCE-FF41-A52C-9ADF-02356BE3EBF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95777" y="1484313"/>
            <a:ext cx="3600450" cy="2173287"/>
          </a:xfrm>
          <a:solidFill>
            <a:schemeClr val="accent5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12B753AD-11FB-0887-3771-AFBB1783A84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83566" y="1484313"/>
            <a:ext cx="3600450" cy="2173287"/>
          </a:xfrm>
          <a:solidFill>
            <a:schemeClr val="accent5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B538FEE-B4FE-00AA-BA35-95211FC368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728" y="3482749"/>
            <a:ext cx="1669294" cy="349702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wrap="none" lIns="36000" tIns="36000" rIns="36000" bIns="36000" anchor="ctr">
            <a:spAutoFit/>
          </a:bodyPr>
          <a:lstStyle>
            <a:lvl1pPr marL="0" indent="0"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216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2pPr>
            <a:lvl3pPr marL="432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3pPr>
            <a:lvl4pPr marL="648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4pPr>
            <a:lvl5pPr marL="864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err="1"/>
              <a:t>Überschrift</a:t>
            </a:r>
            <a:endParaRPr lang="en-US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A757342-4766-33E7-D9C9-89D8FD9050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01517" y="3482749"/>
            <a:ext cx="1669294" cy="349702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wrap="none" lIns="36000" tIns="36000" rIns="36000" bIns="36000" anchor="ctr">
            <a:spAutoFit/>
          </a:bodyPr>
          <a:lstStyle>
            <a:lvl1pPr marL="0" indent="0"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216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2pPr>
            <a:lvl3pPr marL="432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3pPr>
            <a:lvl4pPr marL="648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4pPr>
            <a:lvl5pPr marL="864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err="1"/>
              <a:t>Überschrift</a:t>
            </a:r>
            <a:endParaRPr lang="en-US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319ABECB-A9E3-B0AA-0834-486059B8F8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9306" y="3482749"/>
            <a:ext cx="1669294" cy="349702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wrap="none" lIns="36000" tIns="36000" rIns="36000" bIns="36000" anchor="ctr">
            <a:spAutoFit/>
          </a:bodyPr>
          <a:lstStyle>
            <a:lvl1pPr marL="0" indent="0"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216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2pPr>
            <a:lvl3pPr marL="432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3pPr>
            <a:lvl4pPr marL="648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4pPr>
            <a:lvl5pPr marL="864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err="1"/>
              <a:t>Übersch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905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2525">
          <p15:clr>
            <a:srgbClr val="FBAE40"/>
          </p15:clr>
        </p15:guide>
        <p15:guide id="3" pos="4974">
          <p15:clr>
            <a:srgbClr val="FBAE40"/>
          </p15:clr>
        </p15:guide>
        <p15:guide id="4" pos="2706">
          <p15:clr>
            <a:srgbClr val="FBAE40"/>
          </p15:clr>
        </p15:guide>
        <p15:guide id="5" pos="515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4A21E3-656D-09D3-E25B-4A5995D81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576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4A21E3-656D-09D3-E25B-4A5995D81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2CCCC541-4D05-C5A2-4590-3EA07BBE9BCE}"/>
              </a:ext>
            </a:extLst>
          </p:cNvPr>
          <p:cNvSpPr/>
          <p:nvPr userDrawn="1"/>
        </p:nvSpPr>
        <p:spPr>
          <a:xfrm>
            <a:off x="6242844" y="0"/>
            <a:ext cx="5949156" cy="5949951"/>
          </a:xfrm>
          <a:custGeom>
            <a:avLst/>
            <a:gdLst>
              <a:gd name="connsiteX0" fmla="*/ 1487488 w 5949156"/>
              <a:gd name="connsiteY0" fmla="*/ 0 h 5949951"/>
              <a:gd name="connsiteX1" fmla="*/ 5949156 w 5949156"/>
              <a:gd name="connsiteY1" fmla="*/ 0 h 5949951"/>
              <a:gd name="connsiteX2" fmla="*/ 5949156 w 5949156"/>
              <a:gd name="connsiteY2" fmla="*/ 5949951 h 5949951"/>
              <a:gd name="connsiteX3" fmla="*/ 0 w 5949156"/>
              <a:gd name="connsiteY3" fmla="*/ 5949951 h 5949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49156" h="5949951">
                <a:moveTo>
                  <a:pt x="1487488" y="0"/>
                </a:moveTo>
                <a:lnTo>
                  <a:pt x="5949156" y="0"/>
                </a:lnTo>
                <a:lnTo>
                  <a:pt x="5949156" y="5949951"/>
                </a:lnTo>
                <a:lnTo>
                  <a:pt x="0" y="594995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54025"/>
            <a:ext cx="6588236" cy="369332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84313"/>
            <a:ext cx="5541170" cy="41290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875506"/>
            <a:ext cx="6588236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A97C408-08DB-8F33-BF11-91F296BF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762" b="1453"/>
          <a:stretch/>
        </p:blipFill>
        <p:spPr>
          <a:xfrm rot="10800000">
            <a:off x="6877050" y="0"/>
            <a:ext cx="5314950" cy="5499602"/>
          </a:xfrm>
          <a:prstGeom prst="rect">
            <a:avLst/>
          </a:prstGeom>
        </p:spPr>
      </p:pic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C29C1775-9AAC-4332-3638-A871E4A74736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751763" y="1484313"/>
            <a:ext cx="4032249" cy="412908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673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3" pos="3931">
          <p15:clr>
            <a:srgbClr val="FBAE40"/>
          </p15:clr>
        </p15:guide>
        <p15:guide id="4" pos="3749">
          <p15:clr>
            <a:srgbClr val="FBAE40"/>
          </p15:clr>
        </p15:guide>
        <p15:guide id="5" pos="488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4A21E3-656D-09D3-E25B-4A5995D81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301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4A21E3-656D-09D3-E25B-4A5995D81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CF63F060-2E45-EECA-8295-5B783EB8D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>
            <a:off x="0" y="1701539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54025"/>
            <a:ext cx="6588236" cy="369332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84313"/>
            <a:ext cx="5541170" cy="44656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875506"/>
            <a:ext cx="6588236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677A06D-C018-6AB1-84F7-E60A1F21B83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2844" y="-1"/>
            <a:ext cx="5949156" cy="5949951"/>
          </a:xfrm>
          <a:custGeom>
            <a:avLst/>
            <a:gdLst>
              <a:gd name="connsiteX0" fmla="*/ 1487488 w 5949156"/>
              <a:gd name="connsiteY0" fmla="*/ 0 h 5949951"/>
              <a:gd name="connsiteX1" fmla="*/ 5949156 w 5949156"/>
              <a:gd name="connsiteY1" fmla="*/ 0 h 5949951"/>
              <a:gd name="connsiteX2" fmla="*/ 5949156 w 5949156"/>
              <a:gd name="connsiteY2" fmla="*/ 5949951 h 5949951"/>
              <a:gd name="connsiteX3" fmla="*/ 0 w 5949156"/>
              <a:gd name="connsiteY3" fmla="*/ 5949951 h 5949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49156" h="5949951">
                <a:moveTo>
                  <a:pt x="1487488" y="0"/>
                </a:moveTo>
                <a:lnTo>
                  <a:pt x="5949156" y="0"/>
                </a:lnTo>
                <a:lnTo>
                  <a:pt x="5949156" y="5949951"/>
                </a:lnTo>
                <a:lnTo>
                  <a:pt x="0" y="5949951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44000" tIns="144000" rIns="144000" bIns="144000">
            <a:noAutofit/>
          </a:bodyPr>
          <a:lstStyle>
            <a:lvl1pPr marL="0" indent="0" algn="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142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3" pos="3931" userDrawn="1">
          <p15:clr>
            <a:srgbClr val="FBAE40"/>
          </p15:clr>
        </p15:guide>
        <p15:guide id="4" pos="374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4A21E3-656D-09D3-E25B-4A5995D81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94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4A21E3-656D-09D3-E25B-4A5995D81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4AC2B0C5-1118-D319-554E-6776D0792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 rot="10800000">
            <a:off x="7026108" y="-2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54025"/>
            <a:ext cx="6588236" cy="369332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40463" y="1484313"/>
            <a:ext cx="5543550" cy="44656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9" y="875506"/>
            <a:ext cx="6588236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C6672BDF-B650-1CD4-B16F-D72BF78861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484312"/>
            <a:ext cx="5951538" cy="5373688"/>
          </a:xfrm>
          <a:custGeom>
            <a:avLst/>
            <a:gdLst>
              <a:gd name="connsiteX0" fmla="*/ 0 w 5951538"/>
              <a:gd name="connsiteY0" fmla="*/ 0 h 5373688"/>
              <a:gd name="connsiteX1" fmla="*/ 5951538 w 5951538"/>
              <a:gd name="connsiteY1" fmla="*/ 0 h 5373688"/>
              <a:gd name="connsiteX2" fmla="*/ 4608116 w 5951538"/>
              <a:gd name="connsiteY2" fmla="*/ 5373688 h 5373688"/>
              <a:gd name="connsiteX3" fmla="*/ 0 w 5951538"/>
              <a:gd name="connsiteY3" fmla="*/ 5373688 h 537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1538" h="5373688">
                <a:moveTo>
                  <a:pt x="0" y="0"/>
                </a:moveTo>
                <a:lnTo>
                  <a:pt x="5951538" y="0"/>
                </a:lnTo>
                <a:lnTo>
                  <a:pt x="4608116" y="5373688"/>
                </a:lnTo>
                <a:lnTo>
                  <a:pt x="0" y="537368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824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3840">
          <p15:clr>
            <a:srgbClr val="FBAE40"/>
          </p15:clr>
        </p15:guide>
        <p15:guide id="3" pos="3931">
          <p15:clr>
            <a:srgbClr val="FBAE40"/>
          </p15:clr>
        </p15:guide>
        <p15:guide id="4" pos="374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337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pielfe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93527B3-87EA-E862-B95B-4105B9D14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704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3527B3-87EA-E862-B95B-4105B9D14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BDDEE896-C9E7-0F1C-1ED8-A1FB5A6D7E7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43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222" y="1448932"/>
            <a:ext cx="9439557" cy="453356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8B6EFF-A6AD-2443-430C-200B1D5FA0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6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C5291AA-8EE1-2EC8-4CF7-3832D0501AF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40001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729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pielfeldhälf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93527B3-87EA-E862-B95B-4105B9D14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704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3527B3-87EA-E862-B95B-4105B9D14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BDDEE896-C9E7-0F1C-1ED8-A1FB5A6D7E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43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4" r="49608"/>
          <a:stretch/>
        </p:blipFill>
        <p:spPr>
          <a:xfrm rot="5400000">
            <a:off x="3814064" y="1525768"/>
            <a:ext cx="4563872" cy="434958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609592-9838-EDD5-C8A2-4F691483BF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6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63FCABE-B997-89B4-CC83-287F2E236FA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40001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6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pielfelddr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93527B3-87EA-E862-B95B-4105B9D14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704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3527B3-87EA-E862-B95B-4105B9D14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BDDEE896-C9E7-0F1C-1ED8-A1FB5A6D7E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43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4" r="61942"/>
          <a:stretch/>
        </p:blipFill>
        <p:spPr>
          <a:xfrm rot="5400000">
            <a:off x="3827400" y="821827"/>
            <a:ext cx="4537200" cy="573079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87CB127-3282-4B30-CEC3-947E83B00D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6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AD9C667-6F6A-CF2F-3597-D608C37A243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40001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97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067B55C-20ED-9FD4-4B22-517CC61EA2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495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67B55C-20ED-9FD4-4B22-517CC61EA2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07158B98-D476-6706-3591-E4765AE7B7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 rot="10800000">
            <a:off x="7026108" y="-2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6992A1D-A619-B633-43BE-2E86BE55F5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1400" y="3244332"/>
            <a:ext cx="3685041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9B50059-1EE2-FAD7-5EFA-C5F6C69F7B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4932743" cy="6858000"/>
          </a:xfrm>
          <a:custGeom>
            <a:avLst/>
            <a:gdLst>
              <a:gd name="connsiteX0" fmla="*/ 0 w 4932743"/>
              <a:gd name="connsiteY0" fmla="*/ 0 h 6858000"/>
              <a:gd name="connsiteX1" fmla="*/ 4932743 w 4932743"/>
              <a:gd name="connsiteY1" fmla="*/ 0 h 6858000"/>
              <a:gd name="connsiteX2" fmla="*/ 3227392 w 4932743"/>
              <a:gd name="connsiteY2" fmla="*/ 6857999 h 6858000"/>
              <a:gd name="connsiteX3" fmla="*/ 0 w 493274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32743" h="6858000">
                <a:moveTo>
                  <a:pt x="0" y="0"/>
                </a:moveTo>
                <a:lnTo>
                  <a:pt x="4932743" y="0"/>
                </a:lnTo>
                <a:lnTo>
                  <a:pt x="3227392" y="6857999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69EF1EAE-4E94-9BD4-5337-53D57802882E}"/>
              </a:ext>
            </a:extLst>
          </p:cNvPr>
          <p:cNvSpPr>
            <a:spLocks/>
          </p:cNvSpPr>
          <p:nvPr userDrawn="1"/>
        </p:nvSpPr>
        <p:spPr>
          <a:xfrm>
            <a:off x="3227392" y="-1"/>
            <a:ext cx="2104188" cy="6857999"/>
          </a:xfrm>
          <a:custGeom>
            <a:avLst/>
            <a:gdLst>
              <a:gd name="connsiteX0" fmla="*/ 1705351 w 2104188"/>
              <a:gd name="connsiteY0" fmla="*/ 0 h 6858000"/>
              <a:gd name="connsiteX1" fmla="*/ 2104188 w 2104188"/>
              <a:gd name="connsiteY1" fmla="*/ 0 h 6858000"/>
              <a:gd name="connsiteX2" fmla="*/ 398837 w 2104188"/>
              <a:gd name="connsiteY2" fmla="*/ 6858000 h 6858000"/>
              <a:gd name="connsiteX3" fmla="*/ 0 w 21041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4188" h="6858000">
                <a:moveTo>
                  <a:pt x="1705351" y="0"/>
                </a:moveTo>
                <a:lnTo>
                  <a:pt x="2104188" y="0"/>
                </a:lnTo>
                <a:lnTo>
                  <a:pt x="398837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7000">
                <a:srgbClr val="D70826"/>
              </a:gs>
              <a:gs pos="81000">
                <a:srgbClr val="FBB9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omorrow" pitchFamily="2" charset="0"/>
              <a:ea typeface="+mn-ea"/>
              <a:cs typeface="+mn-cs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9E9CE10-8F1D-22C8-A21A-3233EFC855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1401" y="3832225"/>
            <a:ext cx="3685041" cy="184666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DE" dirty="0"/>
              <a:t>Vorname Nachname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EA81F76-6A7B-4717-B973-EA421EB52B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3151" y="4646427"/>
            <a:ext cx="1303523" cy="130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818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mit BIld">
    <p:bg>
      <p:bgPr>
        <a:gradFill>
          <a:gsLst>
            <a:gs pos="0">
              <a:srgbClr val="D70826"/>
            </a:gs>
            <a:gs pos="100000">
              <a:srgbClr val="FBB900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FB4D5B-BFE0-B43B-13BE-BAEF3148D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7095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FB4D5B-BFE0-B43B-13BE-BAEF3148D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0A6695F-291D-D6C2-9443-3E0F34C6FB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8476" y="3244332"/>
            <a:ext cx="4326199" cy="36933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3633AB7-69A8-F892-0B24-B38F977FD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762" b="8005"/>
          <a:stretch/>
        </p:blipFill>
        <p:spPr>
          <a:xfrm rot="10800000" flipH="1">
            <a:off x="0" y="-2"/>
            <a:ext cx="5314950" cy="513397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23D8777-A679-4BBC-EF6E-AB3296FE3E2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black">
          <a:xfrm>
            <a:off x="10193151" y="4646427"/>
            <a:ext cx="1303523" cy="1303523"/>
          </a:xfrm>
          <a:prstGeom prst="rect">
            <a:avLst/>
          </a:prstGeom>
        </p:spPr>
      </p:pic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EF6FE0E2-733B-71C6-4423-701C149BE9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18477" y="3832225"/>
            <a:ext cx="4326198" cy="184666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DE" dirty="0"/>
              <a:t>Vorname Nachname</a:t>
            </a:r>
            <a:endParaRPr lang="en-US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8974A35-C554-EB1E-DF52-4051C21221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940626" y="2273298"/>
            <a:ext cx="2311400" cy="2311400"/>
          </a:xfrm>
          <a:prstGeom prst="ellipse">
            <a:avLst/>
          </a:prstGeo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331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ED1259-2568-417F-D648-75F9381EEC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32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ED1259-2568-417F-D648-75F9381EE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8A382A-8A03-DB33-48C4-155F2ED599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762" y="2566985"/>
            <a:ext cx="4178912" cy="1107996"/>
          </a:xfrm>
        </p:spPr>
        <p:txBody>
          <a:bodyPr vert="horz" wrap="square" anchor="b">
            <a:sp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ER PRÄ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189C71D-8321-A8EE-7C6D-17CF841DD5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17762" y="3886200"/>
            <a:ext cx="4178912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1DA76FD-6577-3D8F-1E72-F86A344D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93151" y="4646427"/>
            <a:ext cx="1303523" cy="1303523"/>
          </a:xfrm>
          <a:prstGeom prst="rect">
            <a:avLst/>
          </a:prstGeom>
        </p:spPr>
      </p:pic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6FBC3446-84B4-FAC7-7ED6-D7AF02FD0E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081384" cy="6858000"/>
          </a:xfrm>
          <a:custGeom>
            <a:avLst/>
            <a:gdLst>
              <a:gd name="connsiteX0" fmla="*/ 0 w 7081384"/>
              <a:gd name="connsiteY0" fmla="*/ 0 h 6858000"/>
              <a:gd name="connsiteX1" fmla="*/ 7081384 w 7081384"/>
              <a:gd name="connsiteY1" fmla="*/ 0 h 6858000"/>
              <a:gd name="connsiteX2" fmla="*/ 5376033 w 7081384"/>
              <a:gd name="connsiteY2" fmla="*/ 6857999 h 6858000"/>
              <a:gd name="connsiteX3" fmla="*/ 5603263 w 7081384"/>
              <a:gd name="connsiteY3" fmla="*/ 6857999 h 6858000"/>
              <a:gd name="connsiteX4" fmla="*/ 5603262 w 7081384"/>
              <a:gd name="connsiteY4" fmla="*/ 6858000 h 6858000"/>
              <a:gd name="connsiteX5" fmla="*/ 0 w 7081384"/>
              <a:gd name="connsiteY5" fmla="*/ 6858000 h 6858000"/>
              <a:gd name="connsiteX0" fmla="*/ 0 w 7081384"/>
              <a:gd name="connsiteY0" fmla="*/ 0 h 6858000"/>
              <a:gd name="connsiteX1" fmla="*/ 7081384 w 7081384"/>
              <a:gd name="connsiteY1" fmla="*/ 0 h 6858000"/>
              <a:gd name="connsiteX2" fmla="*/ 5376033 w 7081384"/>
              <a:gd name="connsiteY2" fmla="*/ 6857999 h 6858000"/>
              <a:gd name="connsiteX3" fmla="*/ 5603263 w 7081384"/>
              <a:gd name="connsiteY3" fmla="*/ 6857999 h 6858000"/>
              <a:gd name="connsiteX4" fmla="*/ 0 w 7081384"/>
              <a:gd name="connsiteY4" fmla="*/ 6858000 h 6858000"/>
              <a:gd name="connsiteX5" fmla="*/ 0 w 7081384"/>
              <a:gd name="connsiteY5" fmla="*/ 0 h 6858000"/>
              <a:gd name="connsiteX0" fmla="*/ 0 w 7081384"/>
              <a:gd name="connsiteY0" fmla="*/ 0 h 6858000"/>
              <a:gd name="connsiteX1" fmla="*/ 7081384 w 7081384"/>
              <a:gd name="connsiteY1" fmla="*/ 0 h 6858000"/>
              <a:gd name="connsiteX2" fmla="*/ 5376033 w 7081384"/>
              <a:gd name="connsiteY2" fmla="*/ 6857999 h 6858000"/>
              <a:gd name="connsiteX3" fmla="*/ 0 w 7081384"/>
              <a:gd name="connsiteY3" fmla="*/ 6858000 h 6858000"/>
              <a:gd name="connsiteX4" fmla="*/ 0 w 708138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1384" h="6858000">
                <a:moveTo>
                  <a:pt x="0" y="0"/>
                </a:moveTo>
                <a:lnTo>
                  <a:pt x="7081384" y="0"/>
                </a:lnTo>
                <a:lnTo>
                  <a:pt x="5376033" y="6857999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08744EEF-FD77-9D83-75C5-F53A1AA736F0}"/>
              </a:ext>
            </a:extLst>
          </p:cNvPr>
          <p:cNvSpPr>
            <a:spLocks/>
          </p:cNvSpPr>
          <p:nvPr userDrawn="1"/>
        </p:nvSpPr>
        <p:spPr>
          <a:xfrm>
            <a:off x="5376033" y="-1"/>
            <a:ext cx="2104188" cy="6857999"/>
          </a:xfrm>
          <a:custGeom>
            <a:avLst/>
            <a:gdLst>
              <a:gd name="connsiteX0" fmla="*/ 1705351 w 2104188"/>
              <a:gd name="connsiteY0" fmla="*/ 0 h 6858000"/>
              <a:gd name="connsiteX1" fmla="*/ 2104188 w 2104188"/>
              <a:gd name="connsiteY1" fmla="*/ 0 h 6858000"/>
              <a:gd name="connsiteX2" fmla="*/ 398837 w 2104188"/>
              <a:gd name="connsiteY2" fmla="*/ 6858000 h 6858000"/>
              <a:gd name="connsiteX3" fmla="*/ 0 w 21041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4188" h="6858000">
                <a:moveTo>
                  <a:pt x="1705351" y="0"/>
                </a:moveTo>
                <a:lnTo>
                  <a:pt x="2104188" y="0"/>
                </a:lnTo>
                <a:lnTo>
                  <a:pt x="398837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7000">
                <a:srgbClr val="D70826"/>
              </a:gs>
              <a:gs pos="81000">
                <a:srgbClr val="FBB9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omorrow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3852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pos="2252">
          <p15:clr>
            <a:srgbClr val="FBAE40"/>
          </p15:clr>
        </p15:guide>
        <p15:guide id="3" pos="72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ild vollflächi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ED1259-2568-417F-D648-75F9381EEC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019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ED1259-2568-417F-D648-75F9381EE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>
            <a:extLst>
              <a:ext uri="{FF2B5EF4-FFF2-40B4-BE49-F238E27FC236}">
                <a16:creationId xmlns:a16="http://schemas.microsoft.com/office/drawing/2014/main" id="{B868B76D-AFD0-1EE5-1F48-280C8254EDB9}"/>
              </a:ext>
            </a:extLst>
          </p:cNvPr>
          <p:cNvSpPr/>
          <p:nvPr userDrawn="1"/>
        </p:nvSpPr>
        <p:spPr>
          <a:xfrm>
            <a:off x="12341678" y="1"/>
            <a:ext cx="2523671" cy="1647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/>
            <a:r>
              <a:rPr lang="de-DE" sz="1400" dirty="0">
                <a:solidFill>
                  <a:schemeClr val="bg1"/>
                </a:solidFill>
              </a:rPr>
              <a:t>Um ein Hintergrundbild hinzuzufügen, klicken Sie mit der rechten Maustaste auf die Folie – „Hintergrund formatieren“ – „Bild oder Texturfüllung“. </a:t>
            </a:r>
            <a:endParaRPr lang="en-CA" sz="1400" dirty="0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9301EE2-FDDF-0555-DD51-46B992B96325}"/>
              </a:ext>
            </a:extLst>
          </p:cNvPr>
          <p:cNvSpPr/>
          <p:nvPr userDrawn="1"/>
        </p:nvSpPr>
        <p:spPr bwMode="white">
          <a:xfrm>
            <a:off x="0" y="5949950"/>
            <a:ext cx="12192000" cy="908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2E069E2-C514-4F84-D798-DD69AA191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762" b="8005"/>
          <a:stretch/>
        </p:blipFill>
        <p:spPr>
          <a:xfrm rot="10800000">
            <a:off x="6877050" y="-2"/>
            <a:ext cx="5314950" cy="51339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98A382A-8A03-DB33-48C4-155F2ED599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816725" y="3620844"/>
            <a:ext cx="2344159" cy="626701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vert="horz" wrap="none" lIns="36000" tIns="36000" rIns="36000" bIns="36000" anchor="ctr">
            <a:spAutoFit/>
          </a:bodyPr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189C71D-8321-A8EE-7C6D-17CF841DD5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6725" y="5054096"/>
            <a:ext cx="4679950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1DA76FD-6577-3D8F-1E72-F86A344DA5B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black">
          <a:xfrm>
            <a:off x="10193151" y="441325"/>
            <a:ext cx="1303523" cy="1303523"/>
          </a:xfrm>
          <a:prstGeom prst="rect">
            <a:avLst/>
          </a:prstGeom>
        </p:spPr>
      </p:pic>
      <p:sp>
        <p:nvSpPr>
          <p:cNvPr id="15" name="Textplatzhalter 25">
            <a:extLst>
              <a:ext uri="{FF2B5EF4-FFF2-40B4-BE49-F238E27FC236}">
                <a16:creationId xmlns:a16="http://schemas.microsoft.com/office/drawing/2014/main" id="{8B9FD062-98FF-82CD-6B64-6A10E30C36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816725" y="4283545"/>
            <a:ext cx="3556029" cy="626701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wrap="none" lIns="36000" tIns="36000" rIns="36000" bIns="36000" anchor="ctr">
            <a:sp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+mj-lt"/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DE" dirty="0" err="1"/>
              <a:t>prä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507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294" userDrawn="1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227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919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5DC12D-CF81-B577-E62E-76EFE11A4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4865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5DC12D-CF81-B577-E62E-76EFE11A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Grafik 22">
            <a:extLst>
              <a:ext uri="{FF2B5EF4-FFF2-40B4-BE49-F238E27FC236}">
                <a16:creationId xmlns:a16="http://schemas.microsoft.com/office/drawing/2014/main" id="{4540B599-86C3-5CAB-203D-63E8A66F34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>
            <a:off x="0" y="1701539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7F47099-9EA2-099D-F27B-77B8E28BAA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75050" y="2566194"/>
            <a:ext cx="4073798" cy="626701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vert="horz" wrap="none" lIns="36000" tIns="36000" rIns="36000" bIns="36000" anchor="ctr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apiteltrenner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CD9067-9C40-8A40-7CBB-70B371743E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75050" y="4001707"/>
            <a:ext cx="6623050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8B394-3E57-EB14-178B-DA16A700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6AD2AC-84E2-EAAF-12BE-BD50FAEEA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736E688E-3A4C-0491-1A1E-437C517F6F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75050" y="3228895"/>
            <a:ext cx="3645797" cy="626701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wrap="none" lIns="36000" tIns="36000" rIns="36000" bIns="36000" anchor="ctr">
            <a:sp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+mj-lt"/>
              </a:defRPr>
            </a:lvl1pPr>
            <a:lvl2pPr marL="216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64000" indent="0">
              <a:buNone/>
              <a:defRPr/>
            </a:lvl5pPr>
          </a:lstStyle>
          <a:p>
            <a:pPr lvl="0"/>
            <a:r>
              <a:rPr lang="de-DE" dirty="0"/>
              <a:t>In zwei Zeil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09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52" userDrawn="1">
          <p15:clr>
            <a:srgbClr val="FBAE40"/>
          </p15:clr>
        </p15:guide>
        <p15:guide id="2" orient="horz" pos="161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adient">
    <p:bg>
      <p:bgPr>
        <a:gradFill>
          <a:gsLst>
            <a:gs pos="0">
              <a:srgbClr val="D70826"/>
            </a:gs>
            <a:gs pos="100000">
              <a:srgbClr val="FBB900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5DC12D-CF81-B577-E62E-76EFE11A4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393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5DC12D-CF81-B577-E62E-76EFE11A4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7F47099-9EA2-099D-F27B-77B8E28BAA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75050" y="3120983"/>
            <a:ext cx="6623050" cy="553998"/>
          </a:xfrm>
          <a:noFill/>
        </p:spPr>
        <p:txBody>
          <a:bodyPr vert="horz" wrap="square" lIns="0" tIns="0" rIns="0" bIns="0" anchor="b">
            <a:sp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apiteltrenner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CD9067-9C40-8A40-7CBB-70B371743E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75050" y="3886200"/>
            <a:ext cx="6623050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D58B394-3E57-EB14-178B-DA16A700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6AD2AC-84E2-EAAF-12BE-BD50FAEEA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B206FC-A9AA-4198-92E3-6578A537B3C6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3C3CE59-ED46-FFB3-83BC-319D366F1C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black">
          <a:xfrm>
            <a:off x="11353800" y="6096398"/>
            <a:ext cx="428227" cy="42822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57D3418-F72B-D543-A008-6BBC2ECEB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762" b="8005"/>
          <a:stretch/>
        </p:blipFill>
        <p:spPr>
          <a:xfrm rot="10800000" flipH="1">
            <a:off x="0" y="-2"/>
            <a:ext cx="5314950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164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52">
          <p15:clr>
            <a:srgbClr val="FBAE40"/>
          </p15:clr>
        </p15:guide>
        <p15:guide id="2" orient="horz" pos="161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54E1B4D-0E93-6011-9DE6-25920703AE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815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4E1B4D-0E93-6011-9DE6-25920703A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D632B8D-05D1-B38C-DB90-7CA396723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 rot="10800000">
            <a:off x="7026108" y="-2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6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C465308-8F92-1B2A-E03A-5A2151296C6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40001" y="1484313"/>
            <a:ext cx="5544014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07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14B7399F-56DE-17E6-3DA9-35B8E53ED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09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7399F-56DE-17E6-3DA9-35B8E53ED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BFFFCBD4-E7AF-E795-36E1-DAE29E59A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 rot="10800000">
            <a:off x="7026108" y="-2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484313"/>
            <a:ext cx="3600009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4C465308-8F92-1B2A-E03A-5A2151296C6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95777" y="1484313"/>
            <a:ext cx="3600009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3367D816-E1F3-720B-8D8A-542C86DA79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84004" y="1484313"/>
            <a:ext cx="3600009" cy="446563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751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2525" userDrawn="1">
          <p15:clr>
            <a:srgbClr val="FBAE40"/>
          </p15:clr>
        </p15:guide>
        <p15:guide id="3" pos="4974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515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14B7399F-56DE-17E6-3DA9-35B8E53ED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09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3" progId="TCLayout.ActiveDocument.1">
                  <p:embed/>
                </p:oleObj>
              </mc:Choice>
              <mc:Fallback>
                <p:oleObj name="think-cell Folie" r:id="rId3" imgW="532" imgH="53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B7399F-56DE-17E6-3DA9-35B8E53ED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BFFFCBD4-E7AF-E795-36E1-DAE29E59A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6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439" b="1619"/>
          <a:stretch/>
        </p:blipFill>
        <p:spPr>
          <a:xfrm rot="10800000">
            <a:off x="7026108" y="-2"/>
            <a:ext cx="5165891" cy="515646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34CFFA-1487-7D39-317A-49070635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5F743E-538B-29FE-6C90-176E37158F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4203700"/>
            <a:ext cx="5543551" cy="17462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798FC3-8CB0-271C-5D80-C27CDCE71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A35F58-BD5F-B817-6139-1A38B0AE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EB16BA9-536E-F5EE-8923-CEC3450E8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75506"/>
            <a:ext cx="113760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216000" indent="0">
              <a:buNone/>
              <a:defRPr sz="1800">
                <a:solidFill>
                  <a:schemeClr val="accent4"/>
                </a:solidFill>
              </a:defRPr>
            </a:lvl2pPr>
            <a:lvl3pPr marL="432000" indent="0">
              <a:buNone/>
              <a:defRPr sz="1800">
                <a:solidFill>
                  <a:schemeClr val="accent4"/>
                </a:solidFill>
              </a:defRPr>
            </a:lvl3pPr>
            <a:lvl4pPr marL="648000" indent="0">
              <a:buNone/>
              <a:defRPr sz="1800">
                <a:solidFill>
                  <a:schemeClr val="accent4"/>
                </a:solidFill>
              </a:defRPr>
            </a:lvl4pPr>
            <a:lvl5pPr marL="864000" indent="0">
              <a:buNone/>
              <a:defRPr sz="1800"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 err="1"/>
              <a:t>Subtitle</a:t>
            </a:r>
            <a:r>
              <a:rPr lang="de-DE" dirty="0"/>
              <a:t>, </a:t>
            </a:r>
            <a:r>
              <a:rPr lang="de-DE" dirty="0" err="1"/>
              <a:t>Aptos</a:t>
            </a:r>
            <a:r>
              <a:rPr lang="de-DE" dirty="0"/>
              <a:t>, 18pt</a:t>
            </a:r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3367D816-E1F3-720B-8D8A-542C86DA799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40464" y="4203700"/>
            <a:ext cx="5543550" cy="17462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929A5B07-4EDB-3DA1-F0F3-16950C6DC49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1484313"/>
            <a:ext cx="5544014" cy="2173287"/>
          </a:xfrm>
          <a:solidFill>
            <a:schemeClr val="accent5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12B753AD-11FB-0887-3771-AFBB1783A84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40004" y="1484313"/>
            <a:ext cx="5544014" cy="2173287"/>
          </a:xfrm>
          <a:solidFill>
            <a:schemeClr val="accent5"/>
          </a:solidFill>
        </p:spPr>
        <p:txBody>
          <a:bodyPr lIns="144000" tIns="144000" rIns="144000" bIns="144000"/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B538FEE-B4FE-00AA-BA35-95211FC368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728" y="3482749"/>
            <a:ext cx="1669294" cy="349702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wrap="none" lIns="36000" tIns="36000" rIns="36000" bIns="36000" anchor="ctr">
            <a:spAutoFit/>
          </a:bodyPr>
          <a:lstStyle>
            <a:lvl1pPr marL="0" indent="0"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216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2pPr>
            <a:lvl3pPr marL="432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3pPr>
            <a:lvl4pPr marL="648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4pPr>
            <a:lvl5pPr marL="864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err="1"/>
              <a:t>Überschrift</a:t>
            </a:r>
            <a:endParaRPr lang="en-US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319ABECB-A9E3-B0AA-0834-486059B8F8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5744" y="3482749"/>
            <a:ext cx="1669294" cy="349702"/>
          </a:xfrm>
          <a:gradFill>
            <a:gsLst>
              <a:gs pos="0">
                <a:srgbClr val="D70826"/>
              </a:gs>
              <a:gs pos="100000">
                <a:srgbClr val="FBB900"/>
              </a:gs>
            </a:gsLst>
            <a:lin ang="0" scaled="1"/>
          </a:gradFill>
        </p:spPr>
        <p:txBody>
          <a:bodyPr wrap="none" lIns="36000" tIns="36000" rIns="36000" bIns="36000" anchor="ctr">
            <a:spAutoFit/>
          </a:bodyPr>
          <a:lstStyle>
            <a:lvl1pPr marL="0" indent="0"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216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2pPr>
            <a:lvl3pPr marL="432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3pPr>
            <a:lvl4pPr marL="648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4pPr>
            <a:lvl5pPr marL="864000" indent="0">
              <a:buNone/>
              <a:defRPr cap="all" baseline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err="1"/>
              <a:t>Übersch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55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3931" userDrawn="1">
          <p15:clr>
            <a:srgbClr val="FBAE40"/>
          </p15:clr>
        </p15:guide>
        <p15:guide id="4" pos="374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D64C8D4-AC1B-4EA0-28D0-7C3129C178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64941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532" imgH="533" progId="TCLayout.ActiveDocument.1">
                  <p:embed/>
                </p:oleObj>
              </mc:Choice>
              <mc:Fallback>
                <p:oleObj name="think-cell Folie" r:id="rId22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64C8D4-AC1B-4EA0-28D0-7C3129C17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981D86F-D5A3-F823-E1E1-7CC54D20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54025"/>
            <a:ext cx="11376025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258A4A-4B63-629F-AB01-BD0A707D3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484313"/>
            <a:ext cx="11376026" cy="4465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EC2446-018F-EB5E-7D62-2C4A14DB7D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5050" y="6370737"/>
            <a:ext cx="7239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US"/>
              <a:t>PowerPoint 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EB0E08-81F8-A9CA-DCF6-ECA005C205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7988" y="6370737"/>
            <a:ext cx="468312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6"/>
                </a:solidFill>
              </a:defRPr>
            </a:lvl1pPr>
          </a:lstStyle>
          <a:p>
            <a:fld id="{1FB206FC-A9AA-4198-92E3-6578A537B3C6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730FA310-56EF-81F9-6720-C96D582E8A02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353800" y="6096398"/>
            <a:ext cx="428227" cy="428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86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51" r:id="rId5"/>
    <p:sldLayoutId id="2147483665" r:id="rId6"/>
    <p:sldLayoutId id="2147483662" r:id="rId7"/>
    <p:sldLayoutId id="2147483663" r:id="rId8"/>
    <p:sldLayoutId id="2147483669" r:id="rId9"/>
    <p:sldLayoutId id="2147483664" r:id="rId10"/>
    <p:sldLayoutId id="2147483668" r:id="rId11"/>
    <p:sldLayoutId id="2147483666" r:id="rId12"/>
    <p:sldLayoutId id="2147483667" r:id="rId13"/>
    <p:sldLayoutId id="2147483672" r:id="rId14"/>
    <p:sldLayoutId id="2147483673" r:id="rId15"/>
    <p:sldLayoutId id="2147483675" r:id="rId16"/>
    <p:sldLayoutId id="2147483676" r:id="rId17"/>
    <p:sldLayoutId id="2147483670" r:id="rId18"/>
    <p:sldLayoutId id="2147483671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ptos" panose="020B0004020202020204" pitchFamily="34" charset="0"/>
        <a:buChar char="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ptos" panose="020B0004020202020204" pitchFamily="34" charset="0"/>
        <a:buChar char="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ptos" panose="020B0004020202020204" pitchFamily="34" charset="0"/>
        <a:buChar char="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ptos" panose="020B0004020202020204" pitchFamily="34" charset="0"/>
        <a:buChar char="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 userDrawn="1">
          <p15:clr>
            <a:srgbClr val="F26B43"/>
          </p15:clr>
        </p15:guide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  <p15:guide id="5" orient="horz" pos="3748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647AB5-52DF-92C4-9583-CE9C5C8AEB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75050" y="2566985"/>
            <a:ext cx="5554436" cy="1107996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DF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E1D3962-485C-A5D8-3008-8BBE6496AD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75050" y="3886200"/>
            <a:ext cx="5554436" cy="276999"/>
          </a:xfrm>
        </p:spPr>
        <p:txBody>
          <a:bodyPr wrap="square">
            <a:normAutofit/>
          </a:bodyPr>
          <a:lstStyle/>
          <a:p>
            <a:r>
              <a:rPr lang="en-US" dirty="0"/>
              <a:t>Deutsche Frauen </a:t>
            </a:r>
            <a:r>
              <a:rPr lang="en-US" dirty="0" err="1"/>
              <a:t>Eishockey</a:t>
            </a:r>
            <a:r>
              <a:rPr lang="en-US" dirty="0"/>
              <a:t> Liga</a:t>
            </a:r>
          </a:p>
        </p:txBody>
      </p:sp>
    </p:spTree>
    <p:extLst>
      <p:ext uri="{BB962C8B-B14F-4D97-AF65-F5344CB8AC3E}">
        <p14:creationId xmlns:p14="http://schemas.microsoft.com/office/powerpoint/2010/main" val="2663014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1">
            <a:extLst>
              <a:ext uri="{FF2B5EF4-FFF2-40B4-BE49-F238E27FC236}">
                <a16:creationId xmlns:a16="http://schemas.microsoft.com/office/drawing/2014/main" id="{3F84CE23-0CF2-6B4C-8133-49BCDFAC5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54025"/>
            <a:ext cx="6588236" cy="369332"/>
          </a:xfrm>
        </p:spPr>
        <p:txBody>
          <a:bodyPr/>
          <a:lstStyle/>
          <a:p>
            <a:r>
              <a:rPr lang="en-US" dirty="0"/>
              <a:t>Facts 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3DD0E937-BDB5-1C85-82AD-C853B6A74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84313"/>
            <a:ext cx="5541170" cy="4465637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3.100 female hockey players / 3 – 60 years old 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No Girls Teams 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5* program : Development-Program 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U13 / U15 </a:t>
            </a:r>
            <a:r>
              <a:rPr lang="en-US" dirty="0">
                <a:sym typeface="Wingdings" panose="05000000000000000000" pitchFamily="2" charset="2"/>
              </a:rPr>
              <a:t> R</a:t>
            </a:r>
            <a:r>
              <a:rPr lang="en-US" dirty="0"/>
              <a:t>egional Scouting 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Support-system </a:t>
            </a:r>
            <a:r>
              <a:rPr lang="en-US" dirty="0">
                <a:sym typeface="Wingdings" panose="05000000000000000000" pitchFamily="2" charset="2"/>
              </a:rPr>
              <a:t> U16 players</a:t>
            </a: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Growing success National Team </a:t>
            </a:r>
            <a:endParaRPr lang="en-US" dirty="0"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dirty="0">
                <a:sym typeface="Wingdings" panose="05000000000000000000" pitchFamily="2" charset="2"/>
              </a:rPr>
              <a:t>  magenta TV</a:t>
            </a:r>
          </a:p>
          <a:p>
            <a:pPr>
              <a:lnSpc>
                <a:spcPct val="90000"/>
              </a:lnSpc>
            </a:pPr>
            <a:endParaRPr lang="en-US" dirty="0"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</a:pPr>
            <a:r>
              <a:rPr lang="en-US" dirty="0">
                <a:sym typeface="Wingdings" panose="05000000000000000000" pitchFamily="2" charset="2"/>
              </a:rPr>
              <a:t>Visibility on Social Media</a:t>
            </a:r>
            <a:endParaRPr lang="en-US" dirty="0"/>
          </a:p>
          <a:p>
            <a:pPr marL="0" indent="0">
              <a:lnSpc>
                <a:spcPct val="90000"/>
              </a:lnSpc>
              <a:buNone/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6B30B8-2308-0E96-2252-4F26F968AF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35050" y="6370737"/>
            <a:ext cx="7239000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F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7F3AF95-90FC-D5B4-13E7-05756BD23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370737"/>
            <a:ext cx="468312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1FB206FC-A9AA-4198-92E3-6578A537B3C6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58" name="Text Placeholder 5">
            <a:extLst>
              <a:ext uri="{FF2B5EF4-FFF2-40B4-BE49-F238E27FC236}">
                <a16:creationId xmlns:a16="http://schemas.microsoft.com/office/drawing/2014/main" id="{D759C8EA-567C-25E0-A470-2671E65447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875506"/>
            <a:ext cx="6588236" cy="276999"/>
          </a:xfrm>
        </p:spPr>
        <p:txBody>
          <a:bodyPr/>
          <a:lstStyle/>
          <a:p>
            <a:r>
              <a:rPr lang="en-US" dirty="0"/>
              <a:t>Female Ice Hockey in Germany </a:t>
            </a:r>
          </a:p>
        </p:txBody>
      </p:sp>
      <p:pic>
        <p:nvPicPr>
          <p:cNvPr id="9" name="Inhaltsplatzhalter 8" descr="Ein Bild, das Sport, Person, Sportausrüstung, Schlittschuhlaufen enthält.&#10;&#10;KI-generierte Inhalte können fehlerhaft sein.">
            <a:extLst>
              <a:ext uri="{FF2B5EF4-FFF2-40B4-BE49-F238E27FC236}">
                <a16:creationId xmlns:a16="http://schemas.microsoft.com/office/drawing/2014/main" id="{9EE3BD9E-EAEE-76D1-A0A7-93693ED41BB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9157" r="26603" b="2"/>
          <a:stretch/>
        </p:blipFill>
        <p:spPr>
          <a:xfrm>
            <a:off x="6242844" y="-1"/>
            <a:ext cx="5949156" cy="5949951"/>
          </a:xfrm>
          <a:noFill/>
        </p:spPr>
      </p:pic>
    </p:spTree>
    <p:extLst>
      <p:ext uri="{BB962C8B-B14F-4D97-AF65-F5344CB8AC3E}">
        <p14:creationId xmlns:p14="http://schemas.microsoft.com/office/powerpoint/2010/main" val="174009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D8E10D-F652-88E0-D54B-4B0A84552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EL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BCEE52-943C-3439-98EA-D63434AEC5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 TEAMS </a:t>
            </a:r>
          </a:p>
          <a:p>
            <a:endParaRPr lang="en-US" dirty="0"/>
          </a:p>
          <a:p>
            <a:r>
              <a:rPr lang="en-US" dirty="0"/>
              <a:t>- EC </a:t>
            </a:r>
            <a:r>
              <a:rPr lang="en-US" dirty="0" err="1"/>
              <a:t>Bergkamen</a:t>
            </a:r>
            <a:r>
              <a:rPr lang="en-US" dirty="0"/>
              <a:t> </a:t>
            </a:r>
          </a:p>
          <a:p>
            <a:r>
              <a:rPr lang="en-US" dirty="0"/>
              <a:t>- ECDC Memmingen Indians </a:t>
            </a:r>
          </a:p>
          <a:p>
            <a:r>
              <a:rPr lang="en-US" dirty="0"/>
              <a:t>- </a:t>
            </a:r>
            <a:r>
              <a:rPr lang="en-US" dirty="0" err="1"/>
              <a:t>Eisbären</a:t>
            </a:r>
            <a:r>
              <a:rPr lang="en-US" dirty="0"/>
              <a:t> Berlin Juniors </a:t>
            </a:r>
          </a:p>
          <a:p>
            <a:r>
              <a:rPr lang="en-US" dirty="0"/>
              <a:t>- ERC Ingolstadt </a:t>
            </a:r>
          </a:p>
          <a:p>
            <a:r>
              <a:rPr lang="en-US" dirty="0"/>
              <a:t>- Mad Dogs Mannheim </a:t>
            </a:r>
          </a:p>
          <a:p>
            <a:endParaRPr lang="en-US" dirty="0"/>
          </a:p>
          <a:p>
            <a:r>
              <a:rPr lang="en-US" dirty="0"/>
              <a:t>- KMH Budapest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b="1" dirty="0"/>
              <a:t>FINAL STANDINGS </a:t>
            </a:r>
          </a:p>
          <a:p>
            <a:endParaRPr lang="en-US" dirty="0"/>
          </a:p>
          <a:p>
            <a:r>
              <a:rPr lang="en-US" dirty="0"/>
              <a:t>1. ECDC Memmingen </a:t>
            </a:r>
          </a:p>
          <a:p>
            <a:r>
              <a:rPr lang="en-US" dirty="0"/>
              <a:t>2. KMH Budapest </a:t>
            </a:r>
          </a:p>
          <a:p>
            <a:r>
              <a:rPr lang="en-US" dirty="0"/>
              <a:t>3. </a:t>
            </a:r>
            <a:r>
              <a:rPr lang="en-US" dirty="0" err="1"/>
              <a:t>Eisbären</a:t>
            </a:r>
            <a:r>
              <a:rPr lang="en-US" dirty="0"/>
              <a:t> Berlin Juniors </a:t>
            </a:r>
          </a:p>
          <a:p>
            <a:r>
              <a:rPr lang="en-US" dirty="0"/>
              <a:t>4. Mad Dogs Mannheim </a:t>
            </a:r>
          </a:p>
          <a:p>
            <a:r>
              <a:rPr lang="en-US" dirty="0"/>
              <a:t>5. ERC Ingolstadt </a:t>
            </a:r>
          </a:p>
          <a:p>
            <a:r>
              <a:rPr lang="en-US" dirty="0"/>
              <a:t>6. EC </a:t>
            </a:r>
            <a:r>
              <a:rPr lang="en-US" dirty="0" err="1"/>
              <a:t>Bergkamen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8FF1215-EA78-26F4-FBBC-D0B58907B2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utsche Frauen </a:t>
            </a:r>
            <a:r>
              <a:rPr lang="en-US" dirty="0" err="1"/>
              <a:t>Eishockey</a:t>
            </a:r>
            <a:r>
              <a:rPr lang="en-US" dirty="0"/>
              <a:t> Liga 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25684B9-5CD3-C378-DCD7-3CCE10EA9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F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D572EF-37A1-F888-C2EE-D713BFDF6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3</a:t>
            </a:fld>
            <a:endParaRPr lang="en-US"/>
          </a:p>
        </p:txBody>
      </p:sp>
      <p:pic>
        <p:nvPicPr>
          <p:cNvPr id="23" name="Inhaltsplatzhalter 22" descr="Ein Bild, das Text, Grafiken, Karte, Darstellung enthält.&#10;&#10;KI-generierte Inhalte können fehlerhaft sein.">
            <a:extLst>
              <a:ext uri="{FF2B5EF4-FFF2-40B4-BE49-F238E27FC236}">
                <a16:creationId xmlns:a16="http://schemas.microsoft.com/office/drawing/2014/main" id="{BCAD43F8-8F75-0B2F-B91A-663BC80E5C7C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2"/>
          <a:stretch>
            <a:fillRect/>
          </a:stretch>
        </p:blipFill>
        <p:spPr>
          <a:xfrm>
            <a:off x="5330548" y="875506"/>
            <a:ext cx="5544014" cy="5544014"/>
          </a:xfrm>
        </p:spPr>
      </p:pic>
    </p:spTree>
    <p:extLst>
      <p:ext uri="{BB962C8B-B14F-4D97-AF65-F5344CB8AC3E}">
        <p14:creationId xmlns:p14="http://schemas.microsoft.com/office/powerpoint/2010/main" val="11667822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A7DAC7-EE6E-4D8B-5E03-CE2E51FF9E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5F8FBF-5EA9-BF0A-94DA-A3AB39652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54025"/>
            <a:ext cx="11376025" cy="369332"/>
          </a:xfrm>
        </p:spPr>
        <p:txBody>
          <a:bodyPr anchor="t">
            <a:normAutofit/>
          </a:bodyPr>
          <a:lstStyle/>
          <a:p>
            <a:r>
              <a:rPr lang="en-US" dirty="0"/>
              <a:t>Bundeswehr - </a:t>
            </a:r>
            <a:r>
              <a:rPr lang="en-US" dirty="0" err="1"/>
              <a:t>SPortfördergruppe</a:t>
            </a:r>
            <a:endParaRPr lang="en-US" dirty="0"/>
          </a:p>
        </p:txBody>
      </p:sp>
      <p:pic>
        <p:nvPicPr>
          <p:cNvPr id="15" name="Grafik 14" descr="Ein Bild, das Person, Militäruniform, Kleidung, Schuhwerk enthält.&#10;&#10;KI-generierte Inhalte können fehlerhaft sein.">
            <a:extLst>
              <a:ext uri="{FF2B5EF4-FFF2-40B4-BE49-F238E27FC236}">
                <a16:creationId xmlns:a16="http://schemas.microsoft.com/office/drawing/2014/main" id="{40BE3D79-F89F-E37B-0045-5386BC17CE3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6966"/>
          <a:stretch/>
        </p:blipFill>
        <p:spPr>
          <a:xfrm>
            <a:off x="407987" y="1484313"/>
            <a:ext cx="3600009" cy="4465637"/>
          </a:xfrm>
          <a:prstGeom prst="rect">
            <a:avLst/>
          </a:prstGeom>
          <a:noFill/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1237687-FD60-CF2E-DBBD-BA55408FE4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35050" y="6370737"/>
            <a:ext cx="7239000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F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83D6F8B-D830-7C2A-3906-25D241165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370737"/>
            <a:ext cx="468312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1FB206FC-A9AA-4198-92E3-6578A537B3C6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A10292D-A83C-6B8C-5632-E308C357AE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875506"/>
            <a:ext cx="11376025" cy="276999"/>
          </a:xfrm>
        </p:spPr>
        <p:txBody>
          <a:bodyPr>
            <a:normAutofit/>
          </a:bodyPr>
          <a:lstStyle/>
          <a:p>
            <a:r>
              <a:rPr lang="en-US" dirty="0"/>
              <a:t>12 Bundeswehr </a:t>
            </a:r>
            <a:r>
              <a:rPr lang="en-US" dirty="0" err="1"/>
              <a:t>Plätze</a:t>
            </a:r>
            <a:r>
              <a:rPr lang="en-US" dirty="0"/>
              <a:t> </a:t>
            </a:r>
          </a:p>
        </p:txBody>
      </p:sp>
      <p:pic>
        <p:nvPicPr>
          <p:cNvPr id="9" name="Inhaltsplatzhalter 8" descr="Ein Bild, das Kleidung, Menschliches Gesicht, Waffe, Person enthält.&#10;&#10;KI-generierte Inhalte können fehlerhaft sein.">
            <a:extLst>
              <a:ext uri="{FF2B5EF4-FFF2-40B4-BE49-F238E27FC236}">
                <a16:creationId xmlns:a16="http://schemas.microsoft.com/office/drawing/2014/main" id="{586F70F1-2C55-62DA-B833-81F31F9D8044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3"/>
          <a:srcRect r="-3" b="8514"/>
          <a:stretch/>
        </p:blipFill>
        <p:spPr>
          <a:xfrm>
            <a:off x="4295777" y="1484313"/>
            <a:ext cx="3600009" cy="4465637"/>
          </a:xfrm>
          <a:noFill/>
        </p:spPr>
      </p:pic>
      <p:pic>
        <p:nvPicPr>
          <p:cNvPr id="13" name="Grafik 12" descr="Ein Bild, das draußen, Militär, Soldat, Armee enthält.&#10;&#10;KI-generierte Inhalte können fehlerhaft sein.">
            <a:extLst>
              <a:ext uri="{FF2B5EF4-FFF2-40B4-BE49-F238E27FC236}">
                <a16:creationId xmlns:a16="http://schemas.microsoft.com/office/drawing/2014/main" id="{5D228762-9518-1A9E-2E4B-ADFE046690E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5945" r="23591" b="-3"/>
          <a:stretch/>
        </p:blipFill>
        <p:spPr>
          <a:xfrm>
            <a:off x="8184004" y="1484313"/>
            <a:ext cx="3600009" cy="44656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76147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F666E6-8D89-9F75-5454-A8385ECFE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54025"/>
            <a:ext cx="11376025" cy="369332"/>
          </a:xfrm>
        </p:spPr>
        <p:txBody>
          <a:bodyPr anchor="t">
            <a:normAutofit/>
          </a:bodyPr>
          <a:lstStyle/>
          <a:p>
            <a:r>
              <a:rPr lang="en-US" dirty="0"/>
              <a:t>Structural developm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15EA621-D2BC-D3E9-632D-8A3E60F815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6" y="1484313"/>
            <a:ext cx="5544014" cy="4465637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 err="1"/>
              <a:t>Ligen</a:t>
            </a:r>
            <a:r>
              <a:rPr lang="en-US" dirty="0"/>
              <a:t> Sponsor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blossom-</a:t>
            </a:r>
            <a:r>
              <a:rPr lang="en-US" dirty="0" err="1"/>
              <a:t>ic</a:t>
            </a: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Best Player Helm 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League-agreement: Practice Routine / Game Times / Video System / Statistic System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Instagram Account</a:t>
            </a:r>
          </a:p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BA02305-7C7E-D52F-5516-A7A6E2995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35050" y="6370737"/>
            <a:ext cx="7239000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FE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14110416-59FE-E585-4492-D191FB1A6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370737"/>
            <a:ext cx="468312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1FB206FC-A9AA-4198-92E3-6578A537B3C6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677B8D4-CE0A-1998-EB4A-08A7154EF4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875506"/>
            <a:ext cx="11376025" cy="276999"/>
          </a:xfrm>
        </p:spPr>
        <p:txBody>
          <a:bodyPr>
            <a:normAutofit/>
          </a:bodyPr>
          <a:lstStyle/>
          <a:p>
            <a:r>
              <a:rPr lang="en-US" dirty="0"/>
              <a:t>Deutsche Frauen </a:t>
            </a:r>
            <a:r>
              <a:rPr lang="en-US" dirty="0" err="1"/>
              <a:t>Eishockey</a:t>
            </a:r>
            <a:r>
              <a:rPr lang="en-US" dirty="0"/>
              <a:t> Liga </a:t>
            </a:r>
          </a:p>
        </p:txBody>
      </p:sp>
      <p:pic>
        <p:nvPicPr>
          <p:cNvPr id="12" name="Bildplatzhalter 11" descr="Ein Bild, das Grafiken, Symbol, Schrift, Logo enthält.&#10;&#10;KI-generierte Inhalte können fehlerhaft sein.">
            <a:extLst>
              <a:ext uri="{FF2B5EF4-FFF2-40B4-BE49-F238E27FC236}">
                <a16:creationId xmlns:a16="http://schemas.microsoft.com/office/drawing/2014/main" id="{BA16043C-0785-4786-C2E6-9F877AE4FA6B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2"/>
          <a:stretch>
            <a:fillRect/>
          </a:stretch>
        </p:blipFill>
        <p:spPr>
          <a:xfrm>
            <a:off x="6240001" y="2636049"/>
            <a:ext cx="5544014" cy="2162165"/>
          </a:xfrm>
          <a:noFill/>
        </p:spPr>
      </p:pic>
    </p:spTree>
    <p:extLst>
      <p:ext uri="{BB962C8B-B14F-4D97-AF65-F5344CB8AC3E}">
        <p14:creationId xmlns:p14="http://schemas.microsoft.com/office/powerpoint/2010/main" val="3171894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7D3234-D165-8CFA-AF72-66401195E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 even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4101C30-C9CC-0EF1-D450-B1FE4FA43F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Eisbären</a:t>
            </a:r>
            <a:r>
              <a:rPr lang="en-US" dirty="0"/>
              <a:t> Berlin Juniors play at UBER ARENA</a:t>
            </a:r>
          </a:p>
          <a:p>
            <a:r>
              <a:rPr lang="en-US" dirty="0"/>
              <a:t>Set record: 2.800 spectators / 2023/24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0CCAD38-BD10-A057-8492-E6DD7FB3FF2E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Final Series Memmingen vs Budapest : 2.000 spectators</a:t>
            </a:r>
          </a:p>
        </p:txBody>
      </p:sp>
      <p:pic>
        <p:nvPicPr>
          <p:cNvPr id="13" name="Bildplatzhalter 12" descr="Ein Bild, das Person, Kleidung, Menschliches Gesicht, Mädchen enthält.&#10;&#10;KI-generierte Inhalte können fehlerhaft sein.">
            <a:extLst>
              <a:ext uri="{FF2B5EF4-FFF2-40B4-BE49-F238E27FC236}">
                <a16:creationId xmlns:a16="http://schemas.microsoft.com/office/drawing/2014/main" id="{49C90E57-1E7D-E3BD-9544-A051ED04BA2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t="20580" b="20580"/>
          <a:stretch>
            <a:fillRect/>
          </a:stretch>
        </p:blipFill>
        <p:spPr/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F233E2A-D8CD-9E85-E3B1-50AB52D8D82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3728" y="3482749"/>
            <a:ext cx="1817989" cy="349702"/>
          </a:xfrm>
        </p:spPr>
        <p:txBody>
          <a:bodyPr/>
          <a:lstStyle/>
          <a:p>
            <a:r>
              <a:rPr lang="en-US" dirty="0"/>
              <a:t>Regular season 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F0280F03-80D2-FDF7-CE16-4A7881130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FEL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BB4551D-043C-BB3B-C131-4146634DF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B206FC-A9AA-4198-92E3-6578A537B3C6}" type="slidenum">
              <a:rPr lang="en-US" smtClean="0"/>
              <a:t>6</a:t>
            </a:fld>
            <a:endParaRPr lang="en-US"/>
          </a:p>
        </p:txBody>
      </p:sp>
      <p:pic>
        <p:nvPicPr>
          <p:cNvPr id="25" name="Bildplatzhalter 24" descr="Ein Bild, das Schlittschuhlaufen, Hockey, Eisfläche, Sporthalle enthält.&#10;&#10;KI-generierte Inhalte können fehlerhaft sein.">
            <a:extLst>
              <a:ext uri="{FF2B5EF4-FFF2-40B4-BE49-F238E27FC236}">
                <a16:creationId xmlns:a16="http://schemas.microsoft.com/office/drawing/2014/main" id="{03ACC52A-2D4C-2C15-CB3D-B98002D518B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t="20580" b="20580"/>
          <a:stretch>
            <a:fillRect/>
          </a:stretch>
        </p:blipFill>
        <p:spPr/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3208BFB-FA9C-9825-6736-FFA5C97CEE6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45744" y="3482749"/>
            <a:ext cx="976412" cy="349702"/>
          </a:xfrm>
        </p:spPr>
        <p:txBody>
          <a:bodyPr/>
          <a:lstStyle/>
          <a:p>
            <a:r>
              <a:rPr lang="en-US" dirty="0"/>
              <a:t>playoffs</a:t>
            </a:r>
          </a:p>
        </p:txBody>
      </p:sp>
    </p:spTree>
    <p:extLst>
      <p:ext uri="{BB962C8B-B14F-4D97-AF65-F5344CB8AC3E}">
        <p14:creationId xmlns:p14="http://schemas.microsoft.com/office/powerpoint/2010/main" val="2488511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7883AF-D8C1-BC8E-1958-EE436F641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nja </a:t>
            </a:r>
            <a:r>
              <a:rPr lang="en-US" dirty="0" err="1"/>
              <a:t>jenik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858A60-B6A7-0ECA-E6B6-4D15334B98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EAD OF WOMENS HOCKEY GERMANY</a:t>
            </a:r>
          </a:p>
        </p:txBody>
      </p:sp>
      <p:pic>
        <p:nvPicPr>
          <p:cNvPr id="14" name="Bildplatzhalter 13" descr="Ein Bild, das Spielzeug, gelb, orange, Im Haus enthält.&#10;&#10;KI-generierte Inhalte können fehlerhaft sein.">
            <a:extLst>
              <a:ext uri="{FF2B5EF4-FFF2-40B4-BE49-F238E27FC236}">
                <a16:creationId xmlns:a16="http://schemas.microsoft.com/office/drawing/2014/main" id="{8B8765E6-3391-C30B-FEC1-C67E488689C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27289" r="2728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1299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B Template">
  <a:themeElements>
    <a:clrScheme name="DEB Farben">
      <a:dk1>
        <a:srgbClr val="101010"/>
      </a:dk1>
      <a:lt1>
        <a:sysClr val="window" lastClr="FFFFFF"/>
      </a:lt1>
      <a:dk2>
        <a:srgbClr val="101010"/>
      </a:dk2>
      <a:lt2>
        <a:srgbClr val="F3F3F3"/>
      </a:lt2>
      <a:accent1>
        <a:srgbClr val="D70826"/>
      </a:accent1>
      <a:accent2>
        <a:srgbClr val="FBB900"/>
      </a:accent2>
      <a:accent3>
        <a:srgbClr val="101010"/>
      </a:accent3>
      <a:accent4>
        <a:srgbClr val="57595B"/>
      </a:accent4>
      <a:accent5>
        <a:srgbClr val="DEDEDE"/>
      </a:accent5>
      <a:accent6>
        <a:srgbClr val="808080"/>
      </a:accent6>
      <a:hlink>
        <a:srgbClr val="D70826"/>
      </a:hlink>
      <a:folHlink>
        <a:srgbClr val="57595B"/>
      </a:folHlink>
    </a:clrScheme>
    <a:fontScheme name="DEB Schriften">
      <a:majorFont>
        <a:latin typeface="Tomorrow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lIns="144000" tIns="144000" rIns="144000" bIns="144000" rtlCol="0" anchor="t"/>
      <a:lstStyle>
        <a:defPPr marL="216000" indent="-216000" algn="l"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6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DEB Farben">
      <a:dk1>
        <a:srgbClr val="101010"/>
      </a:dk1>
      <a:lt1>
        <a:sysClr val="window" lastClr="FFFFFF"/>
      </a:lt1>
      <a:dk2>
        <a:srgbClr val="101010"/>
      </a:dk2>
      <a:lt2>
        <a:srgbClr val="F3F3F3"/>
      </a:lt2>
      <a:accent1>
        <a:srgbClr val="D70826"/>
      </a:accent1>
      <a:accent2>
        <a:srgbClr val="FBB900"/>
      </a:accent2>
      <a:accent3>
        <a:srgbClr val="101010"/>
      </a:accent3>
      <a:accent4>
        <a:srgbClr val="57595B"/>
      </a:accent4>
      <a:accent5>
        <a:srgbClr val="DEDEDE"/>
      </a:accent5>
      <a:accent6>
        <a:srgbClr val="808080"/>
      </a:accent6>
      <a:hlink>
        <a:srgbClr val="D70826"/>
      </a:hlink>
      <a:folHlink>
        <a:srgbClr val="57595B"/>
      </a:folHlink>
    </a:clrScheme>
    <a:fontScheme name="DEB Schriften">
      <a:majorFont>
        <a:latin typeface="Tomorrow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DEB Farben">
      <a:dk1>
        <a:srgbClr val="101010"/>
      </a:dk1>
      <a:lt1>
        <a:sysClr val="window" lastClr="FFFFFF"/>
      </a:lt1>
      <a:dk2>
        <a:srgbClr val="101010"/>
      </a:dk2>
      <a:lt2>
        <a:srgbClr val="F3F3F3"/>
      </a:lt2>
      <a:accent1>
        <a:srgbClr val="D70826"/>
      </a:accent1>
      <a:accent2>
        <a:srgbClr val="FBB900"/>
      </a:accent2>
      <a:accent3>
        <a:srgbClr val="101010"/>
      </a:accent3>
      <a:accent4>
        <a:srgbClr val="57595B"/>
      </a:accent4>
      <a:accent5>
        <a:srgbClr val="DEDEDE"/>
      </a:accent5>
      <a:accent6>
        <a:srgbClr val="808080"/>
      </a:accent6>
      <a:hlink>
        <a:srgbClr val="D70826"/>
      </a:hlink>
      <a:folHlink>
        <a:srgbClr val="57595B"/>
      </a:folHlink>
    </a:clrScheme>
    <a:fontScheme name="DEB Schriften">
      <a:majorFont>
        <a:latin typeface="Tomorrow"/>
        <a:ea typeface=""/>
        <a:cs typeface=""/>
      </a:majorFont>
      <a:minorFont>
        <a:latin typeface="Apto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fNr xmlns="09f2d918-0e3a-466c-9f38-aa4613b31858">48346</RefNr>
    <Kontakt_x0020_E-Mail xmlns="09f2d918-0e3a-466c-9f38-aa4613b31858">nicholas.rausch@deb-online.de</Kontakt_x0020_E-Mail>
    <_x00c4_nderungsdatum xmlns="09f2d918-0e3a-466c-9f38-aa4613b31858" xsi:nil="true"/>
    <Kontaktname xmlns="09f2d918-0e3a-466c-9f38-aa4613b31858">Nicholas Rausch</Kontaktname>
    <TaxCatchAll xmlns="49fdd0f7-b5e6-4db2-af4b-ed23e4d5c043" xsi:nil="true"/>
    <AuftragsID xmlns="09f2d918-0e3a-466c-9f38-aa4613b31858">13495bc5-26ce-ee11-9079-000d3aba3d29</AuftragsID>
    <lcf76f155ced4ddcb4097134ff3c332f xmlns="09f2d918-0e3a-466c-9f38-aa4613b31858">
      <Terms xmlns="http://schemas.microsoft.com/office/infopath/2007/PartnerControls"/>
    </lcf76f155ced4ddcb4097134ff3c332f>
    <Datum xmlns="09f2d918-0e3a-466c-9f38-aa4613b3185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AD236A75FEEE4D89C8DDCC17F2BFE1" ma:contentTypeVersion="17" ma:contentTypeDescription="Ein neues Dokument erstellen." ma:contentTypeScope="" ma:versionID="7b863ceb8471cd88f8d047e84513445d">
  <xsd:schema xmlns:xsd="http://www.w3.org/2001/XMLSchema" xmlns:xs="http://www.w3.org/2001/XMLSchema" xmlns:p="http://schemas.microsoft.com/office/2006/metadata/properties" xmlns:ns2="09f2d918-0e3a-466c-9f38-aa4613b31858" xmlns:ns3="49fdd0f7-b5e6-4db2-af4b-ed23e4d5c043" targetNamespace="http://schemas.microsoft.com/office/2006/metadata/properties" ma:root="true" ma:fieldsID="6f2603210660e7546d2f07f0d2720e24" ns2:_="" ns3:_="">
    <xsd:import namespace="09f2d918-0e3a-466c-9f38-aa4613b31858"/>
    <xsd:import namespace="49fdd0f7-b5e6-4db2-af4b-ed23e4d5c043"/>
    <xsd:element name="properties">
      <xsd:complexType>
        <xsd:sequence>
          <xsd:element name="documentManagement">
            <xsd:complexType>
              <xsd:all>
                <xsd:element ref="ns2:Kontaktname" minOccurs="0"/>
                <xsd:element ref="ns2:AuftragsID" minOccurs="0"/>
                <xsd:element ref="ns2:RefNr" minOccurs="0"/>
                <xsd:element ref="ns2:Kontakt_x0020_E-Mail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_x00c4_nderungsdatum" minOccurs="0"/>
                <xsd:element ref="ns2:Datum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f2d918-0e3a-466c-9f38-aa4613b31858" elementFormDefault="qualified">
    <xsd:import namespace="http://schemas.microsoft.com/office/2006/documentManagement/types"/>
    <xsd:import namespace="http://schemas.microsoft.com/office/infopath/2007/PartnerControls"/>
    <xsd:element name="Kontaktname" ma:index="8" nillable="true" ma:displayName="Kontaktname" ma:default="" ma:internalName="Kontaktname" ma:readOnly="false">
      <xsd:simpleType>
        <xsd:restriction base="dms:Text">
          <xsd:maxLength value="255"/>
        </xsd:restriction>
      </xsd:simpleType>
    </xsd:element>
    <xsd:element name="AuftragsID" ma:index="9" nillable="true" ma:displayName="AuftragsID" ma:default="" ma:internalName="AuftragsID" ma:readOnly="false">
      <xsd:simpleType>
        <xsd:restriction base="dms:Text">
          <xsd:maxLength value="255"/>
        </xsd:restriction>
      </xsd:simpleType>
    </xsd:element>
    <xsd:element name="RefNr" ma:index="10" nillable="true" ma:displayName="RefNr" ma:format="Dropdown" ma:internalName="RefNr" ma:percentage="FALSE">
      <xsd:simpleType>
        <xsd:restriction base="dms:Number"/>
      </xsd:simpleType>
    </xsd:element>
    <xsd:element name="Kontakt_x0020_E-Mail" ma:index="11" nillable="true" ma:displayName="Kontakt E-Mail" ma:default="" ma:internalName="Kontakt_x0020_E_x002d_Mail">
      <xsd:simpleType>
        <xsd:restriction base="dms:Text">
          <xsd:maxLength value="255"/>
        </xsd:restriction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28c2ea2-57a0-4bd9-92b2-10031419a81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x00c4_nderungsdatum" ma:index="26" nillable="true" ma:displayName="Änderungsdatum" ma:format="DateTime" ma:internalName="_x00c4_nderungsdatum">
      <xsd:simpleType>
        <xsd:restriction base="dms:DateTime"/>
      </xsd:simpleType>
    </xsd:element>
    <xsd:element name="Datum" ma:index="27" nillable="true" ma:displayName="Datum" ma:format="DateTime" ma:internalName="Datum">
      <xsd:simpleType>
        <xsd:restriction base="dms:DateTime"/>
      </xsd:simpleType>
    </xsd:element>
    <xsd:element name="MediaServiceLocation" ma:index="28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fdd0f7-b5e6-4db2-af4b-ed23e4d5c043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e8d51961-0080-464c-bfa8-a9a50a62e845}" ma:internalName="TaxCatchAll" ma:showField="CatchAllData" ma:web="49fdd0f7-b5e6-4db2-af4b-ed23e4d5c0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2E664F-344F-4543-9302-A7733E747F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CA7FF4-7881-489F-90F1-37FD581F8F8F}">
  <ds:schemaRefs>
    <ds:schemaRef ds:uri="http://purl.org/dc/terms/"/>
    <ds:schemaRef ds:uri="49fdd0f7-b5e6-4db2-af4b-ed23e4d5c043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09f2d918-0e3a-466c-9f38-aa4613b31858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B3CB804-EBF7-4B2F-A557-583DDF304A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f2d918-0e3a-466c-9f38-aa4613b31858"/>
    <ds:schemaRef ds:uri="49fdd0f7-b5e6-4db2-af4b-ed23e4d5c0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4</Words>
  <Application>Microsoft Office PowerPoint</Application>
  <PresentationFormat>Breitbild</PresentationFormat>
  <Paragraphs>82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Aptos</vt:lpstr>
      <vt:lpstr>Arial</vt:lpstr>
      <vt:lpstr>Tomorrow</vt:lpstr>
      <vt:lpstr>Wingdings</vt:lpstr>
      <vt:lpstr>DEB Template</vt:lpstr>
      <vt:lpstr>think-cell Folie</vt:lpstr>
      <vt:lpstr>DFEL</vt:lpstr>
      <vt:lpstr>Facts </vt:lpstr>
      <vt:lpstr>DFEL </vt:lpstr>
      <vt:lpstr>Bundeswehr - SPortfördergruppe</vt:lpstr>
      <vt:lpstr>Structural development</vt:lpstr>
      <vt:lpstr>Highlight events</vt:lpstr>
      <vt:lpstr>Ronja jenik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B PowerPoint Template</dc:title>
  <dc:creator>Sophia Rybing | i-pointing</dc:creator>
  <cp:lastModifiedBy>Ronja Jenike</cp:lastModifiedBy>
  <cp:revision>5</cp:revision>
  <dcterms:created xsi:type="dcterms:W3CDTF">2024-05-21T09:49:32Z</dcterms:created>
  <dcterms:modified xsi:type="dcterms:W3CDTF">2025-04-12T20:3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AD236A75FEEE4D89C8DDCC17F2BFE1</vt:lpwstr>
  </property>
  <property fmtid="{D5CDD505-2E9C-101B-9397-08002B2CF9AE}" pid="3" name="MediaServiceImageTags">
    <vt:lpwstr/>
  </property>
</Properties>
</file>